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6"/>
  </p:notesMasterIdLst>
  <p:sldIdLst>
    <p:sldId id="2147483624"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FA3FFA7-785F-4953-95E6-5A4C920F66EC}" v="20" dt="2025-01-21T11:21:53.59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61" d="100"/>
          <a:sy n="61" d="100"/>
        </p:scale>
        <p:origin x="884"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microsoft.com/office/2015/10/relationships/revisionInfo" Target="revisionInfo.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B31BCF-9BBF-4764-B6E2-7B0519CA3640}" type="datetimeFigureOut">
              <a:rPr lang="en-US" smtClean="0"/>
              <a:t>1/2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CE94A1-A4D4-4C39-831E-B0823C391DBC}" type="slidenum">
              <a:rPr lang="en-US" smtClean="0"/>
              <a:t>‹#›</a:t>
            </a:fld>
            <a:endParaRPr lang="en-US"/>
          </a:p>
        </p:txBody>
      </p:sp>
    </p:spTree>
    <p:extLst>
      <p:ext uri="{BB962C8B-B14F-4D97-AF65-F5344CB8AC3E}">
        <p14:creationId xmlns:p14="http://schemas.microsoft.com/office/powerpoint/2010/main" val="15296806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28510494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8.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8" Type="http://schemas.openxmlformats.org/officeDocument/2006/relationships/hyperlink" Target="http://www.twitter.com/capgemini" TargetMode="External"/><Relationship Id="rId3" Type="http://schemas.openxmlformats.org/officeDocument/2006/relationships/image" Target="../media/image9.png"/><Relationship Id="rId7" Type="http://schemas.openxmlformats.org/officeDocument/2006/relationships/image" Target="../media/image11.png"/><Relationship Id="rId2" Type="http://schemas.openxmlformats.org/officeDocument/2006/relationships/hyperlink" Target="http://www.facebook.com/capgemini" TargetMode="External"/><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 TargetMode="External"/><Relationship Id="rId9" Type="http://schemas.openxmlformats.org/officeDocument/2006/relationships/image" Target="../media/image12.png"/></Relationships>
</file>

<file path=ppt/slideLayouts/_rels/slideLayout68.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openxmlformats.org/officeDocument/2006/relationships/image" Target="../media/image12.png"/><Relationship Id="rId3" Type="http://schemas.openxmlformats.org/officeDocument/2006/relationships/tags" Target="../tags/tag6.xml"/><Relationship Id="rId7" Type="http://schemas.openxmlformats.org/officeDocument/2006/relationships/image" Target="../media/image9.png"/><Relationship Id="rId12" Type="http://schemas.openxmlformats.org/officeDocument/2006/relationships/hyperlink" Target="http://www.twitter.com/capgemini" TargetMode="Externa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hyperlink" Target="http://www.facebook.com/capgemini" TargetMode="External"/><Relationship Id="rId11" Type="http://schemas.openxmlformats.org/officeDocument/2006/relationships/image" Target="../media/image11.png"/><Relationship Id="rId5" Type="http://schemas.openxmlformats.org/officeDocument/2006/relationships/slideMaster" Target="../slideMasters/slideMaster1.xml"/><Relationship Id="rId15" Type="http://schemas.openxmlformats.org/officeDocument/2006/relationships/image" Target="../media/image13.png"/><Relationship Id="rId10" Type="http://schemas.openxmlformats.org/officeDocument/2006/relationships/hyperlink" Target="http://www.slideshare.net/capgemini" TargetMode="External"/><Relationship Id="rId4" Type="http://schemas.openxmlformats.org/officeDocument/2006/relationships/tags" Target="../tags/tag7.xml"/><Relationship Id="rId9" Type="http://schemas.openxmlformats.org/officeDocument/2006/relationships/image" Target="../media/image10.png"/><Relationship Id="rId14" Type="http://schemas.openxmlformats.org/officeDocument/2006/relationships/hyperlink" Target="http://www.youtube.com/capgeminimedia" TargetMode="External"/></Relationships>
</file>

<file path=ppt/slideLayouts/_rels/slideLayout69.xml.rels><?xml version="1.0" encoding="UTF-8" standalone="yes"?>
<Relationships xmlns="http://schemas.openxmlformats.org/package/2006/relationships"><Relationship Id="rId8" Type="http://schemas.openxmlformats.org/officeDocument/2006/relationships/hyperlink" Target="http://www.slideshare.net/capgemini" TargetMode="External"/><Relationship Id="rId13" Type="http://schemas.microsoft.com/office/2007/relationships/hdphoto" Target="../media/hdphoto5.wdp"/><Relationship Id="rId3" Type="http://schemas.openxmlformats.org/officeDocument/2006/relationships/image" Target="../media/image14.png"/><Relationship Id="rId7" Type="http://schemas.microsoft.com/office/2007/relationships/hdphoto" Target="../media/hdphoto3.wdp"/><Relationship Id="rId12" Type="http://schemas.openxmlformats.org/officeDocument/2006/relationships/image" Target="../media/image17.png"/><Relationship Id="rId2" Type="http://schemas.openxmlformats.org/officeDocument/2006/relationships/hyperlink" Target="http://www.facebook.com/capgemini" TargetMode="External"/><Relationship Id="rId16" Type="http://schemas.microsoft.com/office/2007/relationships/hdphoto" Target="../media/hdphoto6.wdp"/><Relationship Id="rId1" Type="http://schemas.openxmlformats.org/officeDocument/2006/relationships/slideMaster" Target="../slideMasters/slideMaster1.xml"/><Relationship Id="rId6" Type="http://schemas.openxmlformats.org/officeDocument/2006/relationships/image" Target="../media/image15.png"/><Relationship Id="rId11" Type="http://schemas.openxmlformats.org/officeDocument/2006/relationships/hyperlink" Target="http://www.twitter.com/capgemini" TargetMode="External"/><Relationship Id="rId5" Type="http://schemas.openxmlformats.org/officeDocument/2006/relationships/hyperlink" Target="http://www.linkedin.com/company/capgemini" TargetMode="External"/><Relationship Id="rId15" Type="http://schemas.openxmlformats.org/officeDocument/2006/relationships/image" Target="../media/image18.png"/><Relationship Id="rId10" Type="http://schemas.microsoft.com/office/2007/relationships/hdphoto" Target="../media/hdphoto4.wdp"/><Relationship Id="rId4" Type="http://schemas.microsoft.com/office/2007/relationships/hdphoto" Target="../media/hdphoto2.wdp"/><Relationship Id="rId9" Type="http://schemas.openxmlformats.org/officeDocument/2006/relationships/image" Target="../media/image16.png"/><Relationship Id="rId14" Type="http://schemas.openxmlformats.org/officeDocument/2006/relationships/hyperlink" Target="http://www.youtube.com/capgeminimedia" TargetMode="Externa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1_Full Picture White Spade">
    <p:bg>
      <p:bgPr>
        <a:solidFill>
          <a:schemeClr val="accent4"/>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5CA3102-089E-E81F-4DAA-01277F491D04}"/>
              </a:ext>
            </a:extLst>
          </p:cNvPr>
          <p:cNvSpPr/>
          <p:nvPr userDrawn="1"/>
        </p:nvSpPr>
        <p:spPr>
          <a:xfrm>
            <a:off x="0" y="616002"/>
            <a:ext cx="5100739" cy="3323515"/>
          </a:xfrm>
          <a:prstGeom prst="rect">
            <a:avLst/>
          </a:prstGeom>
          <a:solidFill>
            <a:schemeClr val="bg2"/>
          </a:solidFill>
        </p:spPr>
        <p:txBody>
          <a:bodyPr vert="horz" wrap="square" lIns="396000" tIns="360000" rIns="504000" bIns="914400" rtlCol="0" anchor="b" anchorCtr="0">
            <a:noAutofit/>
          </a:bodyPr>
          <a:lstStyle/>
          <a:p>
            <a:pPr marL="0" marR="0" lvl="0" indent="0" algn="l" defTabSz="914400" rtl="0" eaLnBrk="1" fontAlgn="auto" latinLnBrk="0" hangingPunct="1">
              <a:lnSpc>
                <a:spcPct val="90000"/>
              </a:lnSpc>
              <a:spcBef>
                <a:spcPct val="0"/>
              </a:spcBef>
              <a:spcAft>
                <a:spcPts val="0"/>
              </a:spcAft>
              <a:buClrTx/>
              <a:buSzTx/>
              <a:buFontTx/>
              <a:buNone/>
              <a:tabLst>
                <a:tab pos="1258888" algn="l"/>
              </a:tabLst>
            </a:pPr>
            <a:endParaRPr kumimoji="0" lang="en-US" sz="3600" b="0" i="0" u="none" strike="noStrike" kern="1200" cap="none" spc="0" normalizeH="0" baseline="0" noProof="0">
              <a:ln>
                <a:noFill/>
              </a:ln>
              <a:solidFill>
                <a:schemeClr val="bg1"/>
              </a:solidFill>
              <a:effectLst/>
              <a:uLnTx/>
              <a:uFillTx/>
              <a:latin typeface="+mj-lt"/>
              <a:ea typeface="+mj-ea"/>
              <a:cs typeface="+mj-cs"/>
            </a:endParaRPr>
          </a:p>
        </p:txBody>
      </p:sp>
      <p:sp>
        <p:nvSpPr>
          <p:cNvPr id="3" name="Subtitle">
            <a:extLst>
              <a:ext uri="{FF2B5EF4-FFF2-40B4-BE49-F238E27FC236}">
                <a16:creationId xmlns:a16="http://schemas.microsoft.com/office/drawing/2014/main" id="{B3FCD38E-1F71-EA8E-7048-F655798886D1}"/>
              </a:ext>
            </a:extLst>
          </p:cNvPr>
          <p:cNvSpPr>
            <a:spLocks noGrp="1"/>
          </p:cNvSpPr>
          <p:nvPr>
            <p:ph type="subTitle" idx="1" hasCustomPrompt="1"/>
          </p:nvPr>
        </p:nvSpPr>
        <p:spPr>
          <a:xfrm>
            <a:off x="407368" y="3152344"/>
            <a:ext cx="4298856" cy="184666"/>
          </a:xfrm>
          <a:prstGeom prst="rect">
            <a:avLst/>
          </a:prstGeom>
        </p:spPr>
        <p:txBody>
          <a:bodyPr wrap="square" lIns="18000" tIns="0" rIns="0" anchor="t" anchorCtr="0">
            <a:spAutoFit/>
          </a:bodyPr>
          <a:lstStyle>
            <a:lvl1pPr marL="0" indent="0" algn="l">
              <a:buNone/>
              <a:defRPr sz="12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t</a:t>
            </a:r>
            <a:r>
              <a:rPr lang="en-US" noProof="0"/>
              <a:t>Click to insert subtitle (sentence case)</a:t>
            </a:r>
            <a:endParaRPr lang="en-GB"/>
          </a:p>
        </p:txBody>
      </p:sp>
      <p:grpSp>
        <p:nvGrpSpPr>
          <p:cNvPr id="4" name="Group 3">
            <a:extLst>
              <a:ext uri="{FF2B5EF4-FFF2-40B4-BE49-F238E27FC236}">
                <a16:creationId xmlns:a16="http://schemas.microsoft.com/office/drawing/2014/main" id="{D450F715-FF88-772A-96AB-419B96F3C69C}"/>
              </a:ext>
            </a:extLst>
          </p:cNvPr>
          <p:cNvGrpSpPr>
            <a:grpSpLocks noChangeAspect="1"/>
          </p:cNvGrpSpPr>
          <p:nvPr userDrawn="1"/>
        </p:nvGrpSpPr>
        <p:grpSpPr>
          <a:xfrm>
            <a:off x="443568" y="6021288"/>
            <a:ext cx="1872000" cy="420870"/>
            <a:chOff x="5094083" y="5360390"/>
            <a:chExt cx="3039349" cy="683316"/>
          </a:xfrm>
        </p:grpSpPr>
        <p:sp>
          <p:nvSpPr>
            <p:cNvPr id="6" name="Freeform: Shape 5">
              <a:extLst>
                <a:ext uri="{FF2B5EF4-FFF2-40B4-BE49-F238E27FC236}">
                  <a16:creationId xmlns:a16="http://schemas.microsoft.com/office/drawing/2014/main" id="{57EBA3C5-DDBC-C863-BB51-C095233DBBDA}"/>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EBA35527-27CE-FCA8-FB5A-4B72BEE566EB}"/>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D472FF0E-D1B9-E932-372F-F5D1D57831A1}"/>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0793EC61-BD59-BC97-4428-2B6C71C16AB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0" name="Freeform: Shape 9">
              <a:extLst>
                <a:ext uri="{FF2B5EF4-FFF2-40B4-BE49-F238E27FC236}">
                  <a16:creationId xmlns:a16="http://schemas.microsoft.com/office/drawing/2014/main" id="{7DD702E2-0B15-2456-2B44-1554B06AD26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
        <p:nvSpPr>
          <p:cNvPr id="15" name="Graphic 3">
            <a:extLst>
              <a:ext uri="{FF2B5EF4-FFF2-40B4-BE49-F238E27FC236}">
                <a16:creationId xmlns:a16="http://schemas.microsoft.com/office/drawing/2014/main" id="{CBD8E063-073C-883B-EB48-C98C6EB50D70}"/>
              </a:ext>
            </a:extLst>
          </p:cNvPr>
          <p:cNvSpPr/>
          <p:nvPr userDrawn="1"/>
        </p:nvSpPr>
        <p:spPr>
          <a:xfrm flipH="1">
            <a:off x="2907934" y="308978"/>
            <a:ext cx="8181356" cy="6774057"/>
          </a:xfrm>
          <a:custGeom>
            <a:avLst/>
            <a:gdLst>
              <a:gd name="connsiteX0" fmla="*/ 5788629 w 5795867"/>
              <a:gd name="connsiteY0" fmla="*/ 87743 h 4798903"/>
              <a:gd name="connsiteX1" fmla="*/ 5790438 w 5795867"/>
              <a:gd name="connsiteY1" fmla="*/ 78409 h 4798903"/>
              <a:gd name="connsiteX2" fmla="*/ 5792248 w 5795867"/>
              <a:gd name="connsiteY2" fmla="*/ 69074 h 4798903"/>
              <a:gd name="connsiteX3" fmla="*/ 5794058 w 5795867"/>
              <a:gd name="connsiteY3" fmla="*/ 59740 h 4798903"/>
              <a:gd name="connsiteX4" fmla="*/ 5795868 w 5795867"/>
              <a:gd name="connsiteY4" fmla="*/ 50405 h 4798903"/>
              <a:gd name="connsiteX5" fmla="*/ 5515261 w 5795867"/>
              <a:gd name="connsiteY5" fmla="*/ 13734 h 4798903"/>
              <a:gd name="connsiteX6" fmla="*/ 5313712 w 5795867"/>
              <a:gd name="connsiteY6" fmla="*/ 1447 h 4798903"/>
              <a:gd name="connsiteX7" fmla="*/ 5192459 w 5795867"/>
              <a:gd name="connsiteY7" fmla="*/ 18 h 4798903"/>
              <a:gd name="connsiteX8" fmla="*/ 5151977 w 5795867"/>
              <a:gd name="connsiteY8" fmla="*/ 685 h 4798903"/>
              <a:gd name="connsiteX9" fmla="*/ 4808982 w 5795867"/>
              <a:gd name="connsiteY9" fmla="*/ 35165 h 4798903"/>
              <a:gd name="connsiteX10" fmla="*/ 4584287 w 5795867"/>
              <a:gd name="connsiteY10" fmla="*/ 100221 h 4798903"/>
              <a:gd name="connsiteX11" fmla="*/ 4530376 w 5795867"/>
              <a:gd name="connsiteY11" fmla="*/ 123938 h 4798903"/>
              <a:gd name="connsiteX12" fmla="*/ 4478370 w 5795867"/>
              <a:gd name="connsiteY12" fmla="*/ 151942 h 4798903"/>
              <a:gd name="connsiteX13" fmla="*/ 4428363 w 5795867"/>
              <a:gd name="connsiteY13" fmla="*/ 183755 h 4798903"/>
              <a:gd name="connsiteX14" fmla="*/ 4381596 w 5795867"/>
              <a:gd name="connsiteY14" fmla="*/ 220522 h 4798903"/>
              <a:gd name="connsiteX15" fmla="*/ 4338352 w 5795867"/>
              <a:gd name="connsiteY15" fmla="*/ 261670 h 4798903"/>
              <a:gd name="connsiteX16" fmla="*/ 4300347 w 5795867"/>
              <a:gd name="connsiteY16" fmla="*/ 307866 h 4798903"/>
              <a:gd name="connsiteX17" fmla="*/ 4241673 w 5795867"/>
              <a:gd name="connsiteY17" fmla="*/ 411974 h 4798903"/>
              <a:gd name="connsiteX18" fmla="*/ 4235863 w 5795867"/>
              <a:gd name="connsiteY18" fmla="*/ 425785 h 4798903"/>
              <a:gd name="connsiteX19" fmla="*/ 4231005 w 5795867"/>
              <a:gd name="connsiteY19" fmla="*/ 439978 h 4798903"/>
              <a:gd name="connsiteX20" fmla="*/ 4221766 w 5795867"/>
              <a:gd name="connsiteY20" fmla="*/ 468362 h 4798903"/>
              <a:gd name="connsiteX21" fmla="*/ 4208812 w 5795867"/>
              <a:gd name="connsiteY21" fmla="*/ 526560 h 4798903"/>
              <a:gd name="connsiteX22" fmla="*/ 4204240 w 5795867"/>
              <a:gd name="connsiteY22" fmla="*/ 555992 h 4798903"/>
              <a:gd name="connsiteX23" fmla="*/ 4201478 w 5795867"/>
              <a:gd name="connsiteY23" fmla="*/ 585520 h 4798903"/>
              <a:gd name="connsiteX24" fmla="*/ 4199954 w 5795867"/>
              <a:gd name="connsiteY24" fmla="*/ 615142 h 4798903"/>
              <a:gd name="connsiteX25" fmla="*/ 4199192 w 5795867"/>
              <a:gd name="connsiteY25" fmla="*/ 644765 h 4798903"/>
              <a:gd name="connsiteX26" fmla="*/ 4203287 w 5795867"/>
              <a:gd name="connsiteY26" fmla="*/ 715726 h 4798903"/>
              <a:gd name="connsiteX27" fmla="*/ 4207097 w 5795867"/>
              <a:gd name="connsiteY27" fmla="*/ 750969 h 4798903"/>
              <a:gd name="connsiteX28" fmla="*/ 4212717 w 5795867"/>
              <a:gd name="connsiteY28" fmla="*/ 785926 h 4798903"/>
              <a:gd name="connsiteX29" fmla="*/ 4215575 w 5795867"/>
              <a:gd name="connsiteY29" fmla="*/ 803356 h 4798903"/>
              <a:gd name="connsiteX30" fmla="*/ 4219289 w 5795867"/>
              <a:gd name="connsiteY30" fmla="*/ 820597 h 4798903"/>
              <a:gd name="connsiteX31" fmla="*/ 4226719 w 5795867"/>
              <a:gd name="connsiteY31" fmla="*/ 855077 h 4798903"/>
              <a:gd name="connsiteX32" fmla="*/ 4244816 w 5795867"/>
              <a:gd name="connsiteY32" fmla="*/ 923181 h 4798903"/>
              <a:gd name="connsiteX33" fmla="*/ 4266343 w 5795867"/>
              <a:gd name="connsiteY33" fmla="*/ 990142 h 4798903"/>
              <a:gd name="connsiteX34" fmla="*/ 4290632 w 5795867"/>
              <a:gd name="connsiteY34" fmla="*/ 1055959 h 4798903"/>
              <a:gd name="connsiteX35" fmla="*/ 4317302 w 5795867"/>
              <a:gd name="connsiteY35" fmla="*/ 1120825 h 4798903"/>
              <a:gd name="connsiteX36" fmla="*/ 4331685 w 5795867"/>
              <a:gd name="connsiteY36" fmla="*/ 1152733 h 4798903"/>
              <a:gd name="connsiteX37" fmla="*/ 4346067 w 5795867"/>
              <a:gd name="connsiteY37" fmla="*/ 1184642 h 4798903"/>
              <a:gd name="connsiteX38" fmla="*/ 4346067 w 5795867"/>
              <a:gd name="connsiteY38" fmla="*/ 1184833 h 4798903"/>
              <a:gd name="connsiteX39" fmla="*/ 4377214 w 5795867"/>
              <a:gd name="connsiteY39" fmla="*/ 1254175 h 4798903"/>
              <a:gd name="connsiteX40" fmla="*/ 4405694 w 5795867"/>
              <a:gd name="connsiteY40" fmla="*/ 1324564 h 4798903"/>
              <a:gd name="connsiteX41" fmla="*/ 4431316 w 5795867"/>
              <a:gd name="connsiteY41" fmla="*/ 1395907 h 4798903"/>
              <a:gd name="connsiteX42" fmla="*/ 4443222 w 5795867"/>
              <a:gd name="connsiteY42" fmla="*/ 1431911 h 4798903"/>
              <a:gd name="connsiteX43" fmla="*/ 4453795 w 5795867"/>
              <a:gd name="connsiteY43" fmla="*/ 1468297 h 4798903"/>
              <a:gd name="connsiteX44" fmla="*/ 4487418 w 5795867"/>
              <a:gd name="connsiteY44" fmla="*/ 1615553 h 4798903"/>
              <a:gd name="connsiteX45" fmla="*/ 4497134 w 5795867"/>
              <a:gd name="connsiteY45" fmla="*/ 1690229 h 4798903"/>
              <a:gd name="connsiteX46" fmla="*/ 4500182 w 5795867"/>
              <a:gd name="connsiteY46" fmla="*/ 1727758 h 4798903"/>
              <a:gd name="connsiteX47" fmla="*/ 4501991 w 5795867"/>
              <a:gd name="connsiteY47" fmla="*/ 1765286 h 4798903"/>
              <a:gd name="connsiteX48" fmla="*/ 4475703 w 5795867"/>
              <a:gd name="connsiteY48" fmla="*/ 1992934 h 4798903"/>
              <a:gd name="connsiteX49" fmla="*/ 4436555 w 5795867"/>
              <a:gd name="connsiteY49" fmla="*/ 2100376 h 4798903"/>
              <a:gd name="connsiteX50" fmla="*/ 4410552 w 5795867"/>
              <a:gd name="connsiteY50" fmla="*/ 2151335 h 4798903"/>
              <a:gd name="connsiteX51" fmla="*/ 4395693 w 5795867"/>
              <a:gd name="connsiteY51" fmla="*/ 2175814 h 4798903"/>
              <a:gd name="connsiteX52" fmla="*/ 4380071 w 5795867"/>
              <a:gd name="connsiteY52" fmla="*/ 2199817 h 4798903"/>
              <a:gd name="connsiteX53" fmla="*/ 4363403 w 5795867"/>
              <a:gd name="connsiteY53" fmla="*/ 2223058 h 4798903"/>
              <a:gd name="connsiteX54" fmla="*/ 4345591 w 5795867"/>
              <a:gd name="connsiteY54" fmla="*/ 2245441 h 4798903"/>
              <a:gd name="connsiteX55" fmla="*/ 4307681 w 5795867"/>
              <a:gd name="connsiteY55" fmla="*/ 2288494 h 4798903"/>
              <a:gd name="connsiteX56" fmla="*/ 4222242 w 5795867"/>
              <a:gd name="connsiteY56" fmla="*/ 2365266 h 4798903"/>
              <a:gd name="connsiteX57" fmla="*/ 4127278 w 5795867"/>
              <a:gd name="connsiteY57" fmla="*/ 2430512 h 4798903"/>
              <a:gd name="connsiteX58" fmla="*/ 4076891 w 5795867"/>
              <a:gd name="connsiteY58" fmla="*/ 2458802 h 4798903"/>
              <a:gd name="connsiteX59" fmla="*/ 4024979 w 5795867"/>
              <a:gd name="connsiteY59" fmla="*/ 2484424 h 4798903"/>
              <a:gd name="connsiteX60" fmla="*/ 3998595 w 5795867"/>
              <a:gd name="connsiteY60" fmla="*/ 2496520 h 4798903"/>
              <a:gd name="connsiteX61" fmla="*/ 3971830 w 5795867"/>
              <a:gd name="connsiteY61" fmla="*/ 2507665 h 4798903"/>
              <a:gd name="connsiteX62" fmla="*/ 3944969 w 5795867"/>
              <a:gd name="connsiteY62" fmla="*/ 2518619 h 4798903"/>
              <a:gd name="connsiteX63" fmla="*/ 3917728 w 5795867"/>
              <a:gd name="connsiteY63" fmla="*/ 2528620 h 4798903"/>
              <a:gd name="connsiteX64" fmla="*/ 3807047 w 5795867"/>
              <a:gd name="connsiteY64" fmla="*/ 2564148 h 4798903"/>
              <a:gd name="connsiteX65" fmla="*/ 3693986 w 5795867"/>
              <a:gd name="connsiteY65" fmla="*/ 2592056 h 4798903"/>
              <a:gd name="connsiteX66" fmla="*/ 3579305 w 5795867"/>
              <a:gd name="connsiteY66" fmla="*/ 2613202 h 4798903"/>
              <a:gd name="connsiteX67" fmla="*/ 3463576 w 5795867"/>
              <a:gd name="connsiteY67" fmla="*/ 2628346 h 4798903"/>
              <a:gd name="connsiteX68" fmla="*/ 3405378 w 5795867"/>
              <a:gd name="connsiteY68" fmla="*/ 2633871 h 4798903"/>
              <a:gd name="connsiteX69" fmla="*/ 3347085 w 5795867"/>
              <a:gd name="connsiteY69" fmla="*/ 2638157 h 4798903"/>
              <a:gd name="connsiteX70" fmla="*/ 3288697 w 5795867"/>
              <a:gd name="connsiteY70" fmla="*/ 2641301 h 4798903"/>
              <a:gd name="connsiteX71" fmla="*/ 3230213 w 5795867"/>
              <a:gd name="connsiteY71" fmla="*/ 2643301 h 4798903"/>
              <a:gd name="connsiteX72" fmla="*/ 3171730 w 5795867"/>
              <a:gd name="connsiteY72" fmla="*/ 2644253 h 4798903"/>
              <a:gd name="connsiteX73" fmla="*/ 3113246 w 5795867"/>
              <a:gd name="connsiteY73" fmla="*/ 2644253 h 4798903"/>
              <a:gd name="connsiteX74" fmla="*/ 2939320 w 5795867"/>
              <a:gd name="connsiteY74" fmla="*/ 2638252 h 4798903"/>
              <a:gd name="connsiteX75" fmla="*/ 2852452 w 5795867"/>
              <a:gd name="connsiteY75" fmla="*/ 2632442 h 4798903"/>
              <a:gd name="connsiteX76" fmla="*/ 2765679 w 5795867"/>
              <a:gd name="connsiteY76" fmla="*/ 2624822 h 4798903"/>
              <a:gd name="connsiteX77" fmla="*/ 2679097 w 5795867"/>
              <a:gd name="connsiteY77" fmla="*/ 2615488 h 4798903"/>
              <a:gd name="connsiteX78" fmla="*/ 2592705 w 5795867"/>
              <a:gd name="connsiteY78" fmla="*/ 2604344 h 4798903"/>
              <a:gd name="connsiteX79" fmla="*/ 2506504 w 5795867"/>
              <a:gd name="connsiteY79" fmla="*/ 2591675 h 4798903"/>
              <a:gd name="connsiteX80" fmla="*/ 2420493 w 5795867"/>
              <a:gd name="connsiteY80" fmla="*/ 2577578 h 4798903"/>
              <a:gd name="connsiteX81" fmla="*/ 2334768 w 5795867"/>
              <a:gd name="connsiteY81" fmla="*/ 2562052 h 4798903"/>
              <a:gd name="connsiteX82" fmla="*/ 2292001 w 5795867"/>
              <a:gd name="connsiteY82" fmla="*/ 2553861 h 4798903"/>
              <a:gd name="connsiteX83" fmla="*/ 2249329 w 5795867"/>
              <a:gd name="connsiteY83" fmla="*/ 2545098 h 4798903"/>
              <a:gd name="connsiteX84" fmla="*/ 2164080 w 5795867"/>
              <a:gd name="connsiteY84" fmla="*/ 2526810 h 4798903"/>
              <a:gd name="connsiteX85" fmla="*/ 2079117 w 5795867"/>
              <a:gd name="connsiteY85" fmla="*/ 2507188 h 4798903"/>
              <a:gd name="connsiteX86" fmla="*/ 1994440 w 5795867"/>
              <a:gd name="connsiteY86" fmla="*/ 2486329 h 4798903"/>
              <a:gd name="connsiteX87" fmla="*/ 1910144 w 5795867"/>
              <a:gd name="connsiteY87" fmla="*/ 2464231 h 4798903"/>
              <a:gd name="connsiteX88" fmla="*/ 1826133 w 5795867"/>
              <a:gd name="connsiteY88" fmla="*/ 2440894 h 4798903"/>
              <a:gd name="connsiteX89" fmla="*/ 1742408 w 5795867"/>
              <a:gd name="connsiteY89" fmla="*/ 2416415 h 4798903"/>
              <a:gd name="connsiteX90" fmla="*/ 1715738 w 5795867"/>
              <a:gd name="connsiteY90" fmla="*/ 2408510 h 4798903"/>
              <a:gd name="connsiteX91" fmla="*/ 1715453 w 5795867"/>
              <a:gd name="connsiteY91" fmla="*/ 2408510 h 4798903"/>
              <a:gd name="connsiteX92" fmla="*/ 1715357 w 5795867"/>
              <a:gd name="connsiteY92" fmla="*/ 2408510 h 4798903"/>
              <a:gd name="connsiteX93" fmla="*/ 1588961 w 5795867"/>
              <a:gd name="connsiteY93" fmla="*/ 2489758 h 4798903"/>
              <a:gd name="connsiteX94" fmla="*/ 1530287 w 5795867"/>
              <a:gd name="connsiteY94" fmla="*/ 2529763 h 4798903"/>
              <a:gd name="connsiteX95" fmla="*/ 1472184 w 5795867"/>
              <a:gd name="connsiteY95" fmla="*/ 2570435 h 4798903"/>
              <a:gd name="connsiteX96" fmla="*/ 1443133 w 5795867"/>
              <a:gd name="connsiteY96" fmla="*/ 2590818 h 4798903"/>
              <a:gd name="connsiteX97" fmla="*/ 1414748 w 5795867"/>
              <a:gd name="connsiteY97" fmla="*/ 2612154 h 4798903"/>
              <a:gd name="connsiteX98" fmla="*/ 1358265 w 5795867"/>
              <a:gd name="connsiteY98" fmla="*/ 2655112 h 4798903"/>
              <a:gd name="connsiteX99" fmla="*/ 1329976 w 5795867"/>
              <a:gd name="connsiteY99" fmla="*/ 2676638 h 4798903"/>
              <a:gd name="connsiteX100" fmla="*/ 1315879 w 5795867"/>
              <a:gd name="connsiteY100" fmla="*/ 2687402 h 4798903"/>
              <a:gd name="connsiteX101" fmla="*/ 1302163 w 5795867"/>
              <a:gd name="connsiteY101" fmla="*/ 2698641 h 4798903"/>
              <a:gd name="connsiteX102" fmla="*/ 1247394 w 5795867"/>
              <a:gd name="connsiteY102" fmla="*/ 2743789 h 4798903"/>
              <a:gd name="connsiteX103" fmla="*/ 838771 w 5795867"/>
              <a:gd name="connsiteY103" fmla="*/ 3137553 h 4798903"/>
              <a:gd name="connsiteX104" fmla="*/ 494157 w 5795867"/>
              <a:gd name="connsiteY104" fmla="*/ 3588371 h 4798903"/>
              <a:gd name="connsiteX105" fmla="*/ 223171 w 5795867"/>
              <a:gd name="connsiteY105" fmla="*/ 4087005 h 4798903"/>
              <a:gd name="connsiteX106" fmla="*/ 204311 w 5795867"/>
              <a:gd name="connsiteY106" fmla="*/ 4129391 h 4798903"/>
              <a:gd name="connsiteX107" fmla="*/ 151924 w 5795867"/>
              <a:gd name="connsiteY107" fmla="*/ 4258264 h 4798903"/>
              <a:gd name="connsiteX108" fmla="*/ 115729 w 5795867"/>
              <a:gd name="connsiteY108" fmla="*/ 4356086 h 4798903"/>
              <a:gd name="connsiteX109" fmla="*/ 76010 w 5795867"/>
              <a:gd name="connsiteY109" fmla="*/ 4477339 h 4798903"/>
              <a:gd name="connsiteX110" fmla="*/ 35528 w 5795867"/>
              <a:gd name="connsiteY110" fmla="*/ 4622596 h 4798903"/>
              <a:gd name="connsiteX111" fmla="*/ 0 w 5795867"/>
              <a:gd name="connsiteY111" fmla="*/ 4793951 h 4798903"/>
              <a:gd name="connsiteX112" fmla="*/ 9430 w 5795867"/>
              <a:gd name="connsiteY112" fmla="*/ 4795189 h 4798903"/>
              <a:gd name="connsiteX113" fmla="*/ 18860 w 5795867"/>
              <a:gd name="connsiteY113" fmla="*/ 4796427 h 4798903"/>
              <a:gd name="connsiteX114" fmla="*/ 28289 w 5795867"/>
              <a:gd name="connsiteY114" fmla="*/ 4797665 h 4798903"/>
              <a:gd name="connsiteX115" fmla="*/ 37719 w 5795867"/>
              <a:gd name="connsiteY115" fmla="*/ 4798904 h 4798903"/>
              <a:gd name="connsiteX116" fmla="*/ 72485 w 5795867"/>
              <a:gd name="connsiteY116" fmla="*/ 4631740 h 4798903"/>
              <a:gd name="connsiteX117" fmla="*/ 112490 w 5795867"/>
              <a:gd name="connsiteY117" fmla="*/ 4488389 h 4798903"/>
              <a:gd name="connsiteX118" fmla="*/ 151733 w 5795867"/>
              <a:gd name="connsiteY118" fmla="*/ 4368564 h 4798903"/>
              <a:gd name="connsiteX119" fmla="*/ 187452 w 5795867"/>
              <a:gd name="connsiteY119" fmla="*/ 4271790 h 4798903"/>
              <a:gd name="connsiteX120" fmla="*/ 239268 w 5795867"/>
              <a:gd name="connsiteY120" fmla="*/ 4144345 h 4798903"/>
              <a:gd name="connsiteX121" fmla="*/ 257937 w 5795867"/>
              <a:gd name="connsiteY121" fmla="*/ 4102435 h 4798903"/>
              <a:gd name="connsiteX122" fmla="*/ 526066 w 5795867"/>
              <a:gd name="connsiteY122" fmla="*/ 3608945 h 4798903"/>
              <a:gd name="connsiteX123" fmla="*/ 867156 w 5795867"/>
              <a:gd name="connsiteY123" fmla="*/ 3162699 h 4798903"/>
              <a:gd name="connsiteX124" fmla="*/ 1271683 w 5795867"/>
              <a:gd name="connsiteY124" fmla="*/ 2772936 h 4798903"/>
              <a:gd name="connsiteX125" fmla="*/ 1325975 w 5795867"/>
              <a:gd name="connsiteY125" fmla="*/ 2728264 h 4798903"/>
              <a:gd name="connsiteX126" fmla="*/ 1339501 w 5795867"/>
              <a:gd name="connsiteY126" fmla="*/ 2717119 h 4798903"/>
              <a:gd name="connsiteX127" fmla="*/ 1353503 w 5795867"/>
              <a:gd name="connsiteY127" fmla="*/ 2706452 h 4798903"/>
              <a:gd name="connsiteX128" fmla="*/ 1381506 w 5795867"/>
              <a:gd name="connsiteY128" fmla="*/ 2685211 h 4798903"/>
              <a:gd name="connsiteX129" fmla="*/ 1437418 w 5795867"/>
              <a:gd name="connsiteY129" fmla="*/ 2642634 h 4798903"/>
              <a:gd name="connsiteX130" fmla="*/ 1465517 w 5795867"/>
              <a:gd name="connsiteY130" fmla="*/ 2621488 h 4798903"/>
              <a:gd name="connsiteX131" fmla="*/ 1494282 w 5795867"/>
              <a:gd name="connsiteY131" fmla="*/ 2601295 h 4798903"/>
              <a:gd name="connsiteX132" fmla="*/ 1551908 w 5795867"/>
              <a:gd name="connsiteY132" fmla="*/ 2561005 h 4798903"/>
              <a:gd name="connsiteX133" fmla="*/ 1610011 w 5795867"/>
              <a:gd name="connsiteY133" fmla="*/ 2521381 h 4798903"/>
              <a:gd name="connsiteX134" fmla="*/ 1721358 w 5795867"/>
              <a:gd name="connsiteY134" fmla="*/ 2449848 h 4798903"/>
              <a:gd name="connsiteX135" fmla="*/ 1721358 w 5795867"/>
              <a:gd name="connsiteY135" fmla="*/ 2449848 h 4798903"/>
              <a:gd name="connsiteX136" fmla="*/ 1721358 w 5795867"/>
              <a:gd name="connsiteY136" fmla="*/ 2449848 h 4798903"/>
              <a:gd name="connsiteX137" fmla="*/ 1722311 w 5795867"/>
              <a:gd name="connsiteY137" fmla="*/ 2450134 h 4798903"/>
              <a:gd name="connsiteX138" fmla="*/ 1731550 w 5795867"/>
              <a:gd name="connsiteY138" fmla="*/ 2452896 h 4798903"/>
              <a:gd name="connsiteX139" fmla="*/ 1815751 w 5795867"/>
              <a:gd name="connsiteY139" fmla="*/ 2477470 h 4798903"/>
              <a:gd name="connsiteX140" fmla="*/ 1900238 w 5795867"/>
              <a:gd name="connsiteY140" fmla="*/ 2500902 h 4798903"/>
              <a:gd name="connsiteX141" fmla="*/ 1985105 w 5795867"/>
              <a:gd name="connsiteY141" fmla="*/ 2523095 h 4798903"/>
              <a:gd name="connsiteX142" fmla="*/ 2070259 w 5795867"/>
              <a:gd name="connsiteY142" fmla="*/ 2544050 h 4798903"/>
              <a:gd name="connsiteX143" fmla="*/ 2155793 w 5795867"/>
              <a:gd name="connsiteY143" fmla="*/ 2563767 h 4798903"/>
              <a:gd name="connsiteX144" fmla="*/ 2241614 w 5795867"/>
              <a:gd name="connsiteY144" fmla="*/ 2582150 h 4798903"/>
              <a:gd name="connsiteX145" fmla="*/ 2284571 w 5795867"/>
              <a:gd name="connsiteY145" fmla="*/ 2591009 h 4798903"/>
              <a:gd name="connsiteX146" fmla="*/ 2327720 w 5795867"/>
              <a:gd name="connsiteY146" fmla="*/ 2599200 h 4798903"/>
              <a:gd name="connsiteX147" fmla="*/ 2414111 w 5795867"/>
              <a:gd name="connsiteY147" fmla="*/ 2614916 h 4798903"/>
              <a:gd name="connsiteX148" fmla="*/ 2500694 w 5795867"/>
              <a:gd name="connsiteY148" fmla="*/ 2629109 h 4798903"/>
              <a:gd name="connsiteX149" fmla="*/ 2587562 w 5795867"/>
              <a:gd name="connsiteY149" fmla="*/ 2641872 h 4798903"/>
              <a:gd name="connsiteX150" fmla="*/ 2674620 w 5795867"/>
              <a:gd name="connsiteY150" fmla="*/ 2653016 h 4798903"/>
              <a:gd name="connsiteX151" fmla="*/ 2761964 w 5795867"/>
              <a:gd name="connsiteY151" fmla="*/ 2662446 h 4798903"/>
              <a:gd name="connsiteX152" fmla="*/ 2849499 w 5795867"/>
              <a:gd name="connsiteY152" fmla="*/ 2670161 h 4798903"/>
              <a:gd name="connsiteX153" fmla="*/ 2937129 w 5795867"/>
              <a:gd name="connsiteY153" fmla="*/ 2676067 h 4798903"/>
              <a:gd name="connsiteX154" fmla="*/ 3112770 w 5795867"/>
              <a:gd name="connsiteY154" fmla="*/ 2682163 h 4798903"/>
              <a:gd name="connsiteX155" fmla="*/ 3171920 w 5795867"/>
              <a:gd name="connsiteY155" fmla="*/ 2682163 h 4798903"/>
              <a:gd name="connsiteX156" fmla="*/ 3231071 w 5795867"/>
              <a:gd name="connsiteY156" fmla="*/ 2681115 h 4798903"/>
              <a:gd name="connsiteX157" fmla="*/ 3290221 w 5795867"/>
              <a:gd name="connsiteY157" fmla="*/ 2679019 h 4798903"/>
              <a:gd name="connsiteX158" fmla="*/ 3349371 w 5795867"/>
              <a:gd name="connsiteY158" fmla="*/ 2675781 h 4798903"/>
              <a:gd name="connsiteX159" fmla="*/ 3408426 w 5795867"/>
              <a:gd name="connsiteY159" fmla="*/ 2671400 h 4798903"/>
              <a:gd name="connsiteX160" fmla="*/ 3467386 w 5795867"/>
              <a:gd name="connsiteY160" fmla="*/ 2665780 h 4798903"/>
              <a:gd name="connsiteX161" fmla="*/ 3585020 w 5795867"/>
              <a:gd name="connsiteY161" fmla="*/ 2650349 h 4798903"/>
              <a:gd name="connsiteX162" fmla="*/ 3701796 w 5795867"/>
              <a:gd name="connsiteY162" fmla="*/ 2628823 h 4798903"/>
              <a:gd name="connsiteX163" fmla="*/ 3817239 w 5795867"/>
              <a:gd name="connsiteY163" fmla="*/ 2600343 h 4798903"/>
              <a:gd name="connsiteX164" fmla="*/ 3930587 w 5795867"/>
              <a:gd name="connsiteY164" fmla="*/ 2563958 h 4798903"/>
              <a:gd name="connsiteX165" fmla="*/ 3958590 w 5795867"/>
              <a:gd name="connsiteY165" fmla="*/ 2553670 h 4798903"/>
              <a:gd name="connsiteX166" fmla="*/ 3986213 w 5795867"/>
              <a:gd name="connsiteY166" fmla="*/ 2542431 h 4798903"/>
              <a:gd name="connsiteX167" fmla="*/ 4013740 w 5795867"/>
              <a:gd name="connsiteY167" fmla="*/ 2530906 h 4798903"/>
              <a:gd name="connsiteX168" fmla="*/ 4040886 w 5795867"/>
              <a:gd name="connsiteY168" fmla="*/ 2518523 h 4798903"/>
              <a:gd name="connsiteX169" fmla="*/ 4094512 w 5795867"/>
              <a:gd name="connsiteY169" fmla="*/ 2492044 h 4798903"/>
              <a:gd name="connsiteX170" fmla="*/ 4146709 w 5795867"/>
              <a:gd name="connsiteY170" fmla="*/ 2462802 h 4798903"/>
              <a:gd name="connsiteX171" fmla="*/ 4245579 w 5795867"/>
              <a:gd name="connsiteY171" fmla="*/ 2394889 h 4798903"/>
              <a:gd name="connsiteX172" fmla="*/ 4335018 w 5795867"/>
              <a:gd name="connsiteY172" fmla="*/ 2314498 h 4798903"/>
              <a:gd name="connsiteX173" fmla="*/ 4374928 w 5795867"/>
              <a:gd name="connsiteY173" fmla="*/ 2269254 h 4798903"/>
              <a:gd name="connsiteX174" fmla="*/ 4393692 w 5795867"/>
              <a:gd name="connsiteY174" fmla="*/ 2245632 h 4798903"/>
              <a:gd name="connsiteX175" fmla="*/ 4411313 w 5795867"/>
              <a:gd name="connsiteY175" fmla="*/ 2221057 h 4798903"/>
              <a:gd name="connsiteX176" fmla="*/ 4427792 w 5795867"/>
              <a:gd name="connsiteY176" fmla="*/ 2195721 h 4798903"/>
              <a:gd name="connsiteX177" fmla="*/ 4443508 w 5795867"/>
              <a:gd name="connsiteY177" fmla="*/ 2169908 h 4798903"/>
              <a:gd name="connsiteX178" fmla="*/ 4471035 w 5795867"/>
              <a:gd name="connsiteY178" fmla="*/ 2116092 h 4798903"/>
              <a:gd name="connsiteX179" fmla="*/ 4512374 w 5795867"/>
              <a:gd name="connsiteY179" fmla="*/ 2002649 h 4798903"/>
              <a:gd name="connsiteX180" fmla="*/ 4539996 w 5795867"/>
              <a:gd name="connsiteY180" fmla="*/ 1764238 h 4798903"/>
              <a:gd name="connsiteX181" fmla="*/ 4538091 w 5795867"/>
              <a:gd name="connsiteY181" fmla="*/ 1725186 h 4798903"/>
              <a:gd name="connsiteX182" fmla="*/ 4534948 w 5795867"/>
              <a:gd name="connsiteY182" fmla="*/ 1686324 h 4798903"/>
              <a:gd name="connsiteX183" fmla="*/ 4524852 w 5795867"/>
              <a:gd name="connsiteY183" fmla="*/ 1609076 h 4798903"/>
              <a:gd name="connsiteX184" fmla="*/ 4490276 w 5795867"/>
              <a:gd name="connsiteY184" fmla="*/ 1457629 h 4798903"/>
              <a:gd name="connsiteX185" fmla="*/ 4479417 w 5795867"/>
              <a:gd name="connsiteY185" fmla="*/ 1420386 h 4798903"/>
              <a:gd name="connsiteX186" fmla="*/ 4467225 w 5795867"/>
              <a:gd name="connsiteY186" fmla="*/ 1383619 h 4798903"/>
              <a:gd name="connsiteX187" fmla="*/ 4441031 w 5795867"/>
              <a:gd name="connsiteY187" fmla="*/ 1310753 h 4798903"/>
              <a:gd name="connsiteX188" fmla="*/ 4411980 w 5795867"/>
              <a:gd name="connsiteY188" fmla="*/ 1239030 h 4798903"/>
              <a:gd name="connsiteX189" fmla="*/ 4380357 w 5795867"/>
              <a:gd name="connsiteY189" fmla="*/ 1168450 h 4798903"/>
              <a:gd name="connsiteX190" fmla="*/ 4380357 w 5795867"/>
              <a:gd name="connsiteY190" fmla="*/ 1168259 h 4798903"/>
              <a:gd name="connsiteX191" fmla="*/ 4366165 w 5795867"/>
              <a:gd name="connsiteY191" fmla="*/ 1136827 h 4798903"/>
              <a:gd name="connsiteX192" fmla="*/ 4352068 w 5795867"/>
              <a:gd name="connsiteY192" fmla="*/ 1105394 h 4798903"/>
              <a:gd name="connsiteX193" fmla="*/ 4325874 w 5795867"/>
              <a:gd name="connsiteY193" fmla="*/ 1041767 h 4798903"/>
              <a:gd name="connsiteX194" fmla="*/ 4302157 w 5795867"/>
              <a:gd name="connsiteY194" fmla="*/ 977378 h 4798903"/>
              <a:gd name="connsiteX195" fmla="*/ 4281202 w 5795867"/>
              <a:gd name="connsiteY195" fmla="*/ 912132 h 4798903"/>
              <a:gd name="connsiteX196" fmla="*/ 4263581 w 5795867"/>
              <a:gd name="connsiteY196" fmla="*/ 846028 h 4798903"/>
              <a:gd name="connsiteX197" fmla="*/ 4256437 w 5795867"/>
              <a:gd name="connsiteY197" fmla="*/ 812691 h 4798903"/>
              <a:gd name="connsiteX198" fmla="*/ 4252818 w 5795867"/>
              <a:gd name="connsiteY198" fmla="*/ 796022 h 4798903"/>
              <a:gd name="connsiteX199" fmla="*/ 4250055 w 5795867"/>
              <a:gd name="connsiteY199" fmla="*/ 779258 h 4798903"/>
              <a:gd name="connsiteX200" fmla="*/ 4244626 w 5795867"/>
              <a:gd name="connsiteY200" fmla="*/ 745635 h 4798903"/>
              <a:gd name="connsiteX201" fmla="*/ 4241006 w 5795867"/>
              <a:gd name="connsiteY201" fmla="*/ 711821 h 4798903"/>
              <a:gd name="connsiteX202" fmla="*/ 4237006 w 5795867"/>
              <a:gd name="connsiteY202" fmla="*/ 644194 h 4798903"/>
              <a:gd name="connsiteX203" fmla="*/ 4237673 w 5795867"/>
              <a:gd name="connsiteY203" fmla="*/ 616190 h 4798903"/>
              <a:gd name="connsiteX204" fmla="*/ 4239102 w 5795867"/>
              <a:gd name="connsiteY204" fmla="*/ 588282 h 4798903"/>
              <a:gd name="connsiteX205" fmla="*/ 4241769 w 5795867"/>
              <a:gd name="connsiteY205" fmla="*/ 560469 h 4798903"/>
              <a:gd name="connsiteX206" fmla="*/ 4246055 w 5795867"/>
              <a:gd name="connsiteY206" fmla="*/ 532942 h 4798903"/>
              <a:gd name="connsiteX207" fmla="*/ 4258056 w 5795867"/>
              <a:gd name="connsiteY207" fmla="*/ 478649 h 4798903"/>
              <a:gd name="connsiteX208" fmla="*/ 4266629 w 5795867"/>
              <a:gd name="connsiteY208" fmla="*/ 452265 h 4798903"/>
              <a:gd name="connsiteX209" fmla="*/ 4271105 w 5795867"/>
              <a:gd name="connsiteY209" fmla="*/ 439120 h 4798903"/>
              <a:gd name="connsiteX210" fmla="*/ 4276535 w 5795867"/>
              <a:gd name="connsiteY210" fmla="*/ 426357 h 4798903"/>
              <a:gd name="connsiteX211" fmla="*/ 4330732 w 5795867"/>
              <a:gd name="connsiteY211" fmla="*/ 330154 h 4798903"/>
              <a:gd name="connsiteX212" fmla="*/ 4365879 w 5795867"/>
              <a:gd name="connsiteY212" fmla="*/ 287292 h 4798903"/>
              <a:gd name="connsiteX213" fmla="*/ 4406170 w 5795867"/>
              <a:gd name="connsiteY213" fmla="*/ 249001 h 4798903"/>
              <a:gd name="connsiteX214" fmla="*/ 4449985 w 5795867"/>
              <a:gd name="connsiteY214" fmla="*/ 214521 h 4798903"/>
              <a:gd name="connsiteX215" fmla="*/ 4497229 w 5795867"/>
              <a:gd name="connsiteY215" fmla="*/ 184422 h 4798903"/>
              <a:gd name="connsiteX216" fmla="*/ 4546759 w 5795867"/>
              <a:gd name="connsiteY216" fmla="*/ 157847 h 4798903"/>
              <a:gd name="connsiteX217" fmla="*/ 4598385 w 5795867"/>
              <a:gd name="connsiteY217" fmla="*/ 135082 h 4798903"/>
              <a:gd name="connsiteX218" fmla="*/ 4816031 w 5795867"/>
              <a:gd name="connsiteY218" fmla="*/ 72122 h 4798903"/>
              <a:gd name="connsiteX219" fmla="*/ 5152644 w 5795867"/>
              <a:gd name="connsiteY219" fmla="*/ 38308 h 4798903"/>
              <a:gd name="connsiteX220" fmla="*/ 5192554 w 5795867"/>
              <a:gd name="connsiteY220" fmla="*/ 37642 h 4798903"/>
              <a:gd name="connsiteX221" fmla="*/ 5312283 w 5795867"/>
              <a:gd name="connsiteY221" fmla="*/ 38975 h 4798903"/>
              <a:gd name="connsiteX222" fmla="*/ 5511641 w 5795867"/>
              <a:gd name="connsiteY222" fmla="*/ 51167 h 4798903"/>
              <a:gd name="connsiteX223" fmla="*/ 5788533 w 5795867"/>
              <a:gd name="connsiteY223" fmla="*/ 87362 h 47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5795867" h="4798903">
                <a:moveTo>
                  <a:pt x="5788629" y="87743"/>
                </a:moveTo>
                <a:lnTo>
                  <a:pt x="5790438" y="78409"/>
                </a:lnTo>
                <a:lnTo>
                  <a:pt x="5792248" y="69074"/>
                </a:lnTo>
                <a:lnTo>
                  <a:pt x="5794058" y="59740"/>
                </a:lnTo>
                <a:lnTo>
                  <a:pt x="5795868" y="50405"/>
                </a:lnTo>
                <a:cubicBezTo>
                  <a:pt x="5689092" y="31450"/>
                  <a:pt x="5595747" y="21163"/>
                  <a:pt x="5515261" y="13734"/>
                </a:cubicBezTo>
                <a:cubicBezTo>
                  <a:pt x="5434775" y="6590"/>
                  <a:pt x="5367528" y="3066"/>
                  <a:pt x="5313712" y="1447"/>
                </a:cubicBezTo>
                <a:cubicBezTo>
                  <a:pt x="5259896" y="-268"/>
                  <a:pt x="5219414" y="18"/>
                  <a:pt x="5192459" y="18"/>
                </a:cubicBezTo>
                <a:lnTo>
                  <a:pt x="5151977" y="685"/>
                </a:lnTo>
                <a:cubicBezTo>
                  <a:pt x="5037296" y="3542"/>
                  <a:pt x="4922330" y="13258"/>
                  <a:pt x="4808982" y="35165"/>
                </a:cubicBezTo>
                <a:cubicBezTo>
                  <a:pt x="4732687" y="50405"/>
                  <a:pt x="4656868" y="70408"/>
                  <a:pt x="4584287" y="100221"/>
                </a:cubicBezTo>
                <a:cubicBezTo>
                  <a:pt x="4565999" y="107269"/>
                  <a:pt x="4548283" y="115842"/>
                  <a:pt x="4530376" y="123938"/>
                </a:cubicBezTo>
                <a:cubicBezTo>
                  <a:pt x="4512945" y="133082"/>
                  <a:pt x="4495134" y="141464"/>
                  <a:pt x="4478370" y="151942"/>
                </a:cubicBezTo>
                <a:cubicBezTo>
                  <a:pt x="4461129" y="161562"/>
                  <a:pt x="4444841" y="172801"/>
                  <a:pt x="4428363" y="183755"/>
                </a:cubicBezTo>
                <a:cubicBezTo>
                  <a:pt x="4412552" y="195661"/>
                  <a:pt x="4396359" y="207091"/>
                  <a:pt x="4381596" y="220522"/>
                </a:cubicBezTo>
                <a:cubicBezTo>
                  <a:pt x="4366165" y="233095"/>
                  <a:pt x="4352449" y="247573"/>
                  <a:pt x="4338352" y="261670"/>
                </a:cubicBezTo>
                <a:cubicBezTo>
                  <a:pt x="4325303" y="276719"/>
                  <a:pt x="4311872" y="291483"/>
                  <a:pt x="4300347" y="307866"/>
                </a:cubicBezTo>
                <a:cubicBezTo>
                  <a:pt x="4276725" y="339965"/>
                  <a:pt x="4256437" y="374922"/>
                  <a:pt x="4241673" y="411974"/>
                </a:cubicBezTo>
                <a:lnTo>
                  <a:pt x="4235863" y="425785"/>
                </a:lnTo>
                <a:cubicBezTo>
                  <a:pt x="4234148" y="430453"/>
                  <a:pt x="4232624" y="435215"/>
                  <a:pt x="4231005" y="439978"/>
                </a:cubicBezTo>
                <a:cubicBezTo>
                  <a:pt x="4227957" y="449503"/>
                  <a:pt x="4224528" y="458837"/>
                  <a:pt x="4221766" y="468362"/>
                </a:cubicBezTo>
                <a:cubicBezTo>
                  <a:pt x="4217099" y="487698"/>
                  <a:pt x="4211479" y="506843"/>
                  <a:pt x="4208812" y="526560"/>
                </a:cubicBezTo>
                <a:cubicBezTo>
                  <a:pt x="4207288" y="536371"/>
                  <a:pt x="4205193" y="546086"/>
                  <a:pt x="4204240" y="555992"/>
                </a:cubicBezTo>
                <a:lnTo>
                  <a:pt x="4201478" y="585520"/>
                </a:lnTo>
                <a:cubicBezTo>
                  <a:pt x="4200239" y="595330"/>
                  <a:pt x="4200239" y="605236"/>
                  <a:pt x="4199954" y="615142"/>
                </a:cubicBezTo>
                <a:lnTo>
                  <a:pt x="4199192" y="644765"/>
                </a:lnTo>
                <a:cubicBezTo>
                  <a:pt x="4200430" y="668387"/>
                  <a:pt x="4200239" y="692295"/>
                  <a:pt x="4203287" y="715726"/>
                </a:cubicBezTo>
                <a:cubicBezTo>
                  <a:pt x="4204526" y="727442"/>
                  <a:pt x="4205478" y="739253"/>
                  <a:pt x="4207097" y="750969"/>
                </a:cubicBezTo>
                <a:lnTo>
                  <a:pt x="4212717" y="785926"/>
                </a:lnTo>
                <a:lnTo>
                  <a:pt x="4215575" y="803356"/>
                </a:lnTo>
                <a:lnTo>
                  <a:pt x="4219289" y="820597"/>
                </a:lnTo>
                <a:lnTo>
                  <a:pt x="4226719" y="855077"/>
                </a:lnTo>
                <a:cubicBezTo>
                  <a:pt x="4232339" y="877842"/>
                  <a:pt x="4238530" y="900511"/>
                  <a:pt x="4244816" y="923181"/>
                </a:cubicBezTo>
                <a:cubicBezTo>
                  <a:pt x="4252055" y="945469"/>
                  <a:pt x="4258628" y="968044"/>
                  <a:pt x="4266343" y="990142"/>
                </a:cubicBezTo>
                <a:cubicBezTo>
                  <a:pt x="4274439" y="1012049"/>
                  <a:pt x="4281964" y="1034242"/>
                  <a:pt x="4290632" y="1055959"/>
                </a:cubicBezTo>
                <a:cubicBezTo>
                  <a:pt x="4299585" y="1077581"/>
                  <a:pt x="4308062" y="1099393"/>
                  <a:pt x="4317302" y="1120825"/>
                </a:cubicBezTo>
                <a:lnTo>
                  <a:pt x="4331685" y="1152733"/>
                </a:lnTo>
                <a:lnTo>
                  <a:pt x="4346067" y="1184642"/>
                </a:lnTo>
                <a:lnTo>
                  <a:pt x="4346067" y="1184833"/>
                </a:lnTo>
                <a:cubicBezTo>
                  <a:pt x="4356545" y="1207978"/>
                  <a:pt x="4366832" y="1231029"/>
                  <a:pt x="4377214" y="1254175"/>
                </a:cubicBezTo>
                <a:cubicBezTo>
                  <a:pt x="4386644" y="1277606"/>
                  <a:pt x="4396836" y="1300847"/>
                  <a:pt x="4405694" y="1324564"/>
                </a:cubicBezTo>
                <a:cubicBezTo>
                  <a:pt x="4414266" y="1348377"/>
                  <a:pt x="4423887" y="1371808"/>
                  <a:pt x="4431316" y="1395907"/>
                </a:cubicBezTo>
                <a:lnTo>
                  <a:pt x="4443222" y="1431911"/>
                </a:lnTo>
                <a:cubicBezTo>
                  <a:pt x="4447032" y="1443913"/>
                  <a:pt x="4450271" y="1456105"/>
                  <a:pt x="4453795" y="1468297"/>
                </a:cubicBezTo>
                <a:cubicBezTo>
                  <a:pt x="4468082" y="1516779"/>
                  <a:pt x="4478751" y="1566023"/>
                  <a:pt x="4487418" y="1615553"/>
                </a:cubicBezTo>
                <a:cubicBezTo>
                  <a:pt x="4491133" y="1640413"/>
                  <a:pt x="4495229" y="1665274"/>
                  <a:pt x="4497134" y="1690229"/>
                </a:cubicBezTo>
                <a:cubicBezTo>
                  <a:pt x="4498372" y="1702707"/>
                  <a:pt x="4499896" y="1715185"/>
                  <a:pt x="4500182" y="1727758"/>
                </a:cubicBezTo>
                <a:lnTo>
                  <a:pt x="4501991" y="1765286"/>
                </a:lnTo>
                <a:cubicBezTo>
                  <a:pt x="4503420" y="1842153"/>
                  <a:pt x="4495324" y="1919020"/>
                  <a:pt x="4475703" y="1992934"/>
                </a:cubicBezTo>
                <a:cubicBezTo>
                  <a:pt x="4465130" y="2029605"/>
                  <a:pt x="4453033" y="2065990"/>
                  <a:pt x="4436555" y="2100376"/>
                </a:cubicBezTo>
                <a:cubicBezTo>
                  <a:pt x="4429030" y="2117902"/>
                  <a:pt x="4419505" y="2134475"/>
                  <a:pt x="4410552" y="2151335"/>
                </a:cubicBezTo>
                <a:cubicBezTo>
                  <a:pt x="4406170" y="2159812"/>
                  <a:pt x="4400646" y="2167622"/>
                  <a:pt x="4395693" y="2175814"/>
                </a:cubicBezTo>
                <a:cubicBezTo>
                  <a:pt x="4390549" y="2183815"/>
                  <a:pt x="4385882" y="2192197"/>
                  <a:pt x="4380071" y="2199817"/>
                </a:cubicBezTo>
                <a:lnTo>
                  <a:pt x="4363403" y="2223058"/>
                </a:lnTo>
                <a:cubicBezTo>
                  <a:pt x="4357878" y="2230868"/>
                  <a:pt x="4351496" y="2238012"/>
                  <a:pt x="4345591" y="2245441"/>
                </a:cubicBezTo>
                <a:cubicBezTo>
                  <a:pt x="4333971" y="2260586"/>
                  <a:pt x="4320540" y="2274302"/>
                  <a:pt x="4307681" y="2288494"/>
                </a:cubicBezTo>
                <a:cubicBezTo>
                  <a:pt x="4280916" y="2315831"/>
                  <a:pt x="4252818" y="2341930"/>
                  <a:pt x="4222242" y="2365266"/>
                </a:cubicBezTo>
                <a:cubicBezTo>
                  <a:pt x="4192334" y="2389364"/>
                  <a:pt x="4159949" y="2410224"/>
                  <a:pt x="4127278" y="2430512"/>
                </a:cubicBezTo>
                <a:cubicBezTo>
                  <a:pt x="4110514" y="2440037"/>
                  <a:pt x="4093940" y="2449848"/>
                  <a:pt x="4076891" y="2458802"/>
                </a:cubicBezTo>
                <a:cubicBezTo>
                  <a:pt x="4059651" y="2467374"/>
                  <a:pt x="4042696" y="2476709"/>
                  <a:pt x="4024979" y="2484424"/>
                </a:cubicBezTo>
                <a:lnTo>
                  <a:pt x="3998595" y="2496520"/>
                </a:lnTo>
                <a:cubicBezTo>
                  <a:pt x="3989832" y="2500521"/>
                  <a:pt x="3980784" y="2503950"/>
                  <a:pt x="3971830" y="2507665"/>
                </a:cubicBezTo>
                <a:lnTo>
                  <a:pt x="3944969" y="2518619"/>
                </a:lnTo>
                <a:lnTo>
                  <a:pt x="3917728" y="2528620"/>
                </a:lnTo>
                <a:cubicBezTo>
                  <a:pt x="3881438" y="2542050"/>
                  <a:pt x="3844385" y="2553575"/>
                  <a:pt x="3807047" y="2564148"/>
                </a:cubicBezTo>
                <a:cubicBezTo>
                  <a:pt x="3769709" y="2574721"/>
                  <a:pt x="3731990" y="2583865"/>
                  <a:pt x="3693986" y="2592056"/>
                </a:cubicBezTo>
                <a:cubicBezTo>
                  <a:pt x="3655981" y="2600152"/>
                  <a:pt x="3617690" y="2607106"/>
                  <a:pt x="3579305" y="2613202"/>
                </a:cubicBezTo>
                <a:cubicBezTo>
                  <a:pt x="3540824" y="2619107"/>
                  <a:pt x="3502247" y="2624251"/>
                  <a:pt x="3463576" y="2628346"/>
                </a:cubicBezTo>
                <a:cubicBezTo>
                  <a:pt x="3444240" y="2630728"/>
                  <a:pt x="3424809" y="2632156"/>
                  <a:pt x="3405378" y="2633871"/>
                </a:cubicBezTo>
                <a:cubicBezTo>
                  <a:pt x="3385947" y="2635776"/>
                  <a:pt x="3366516" y="2637014"/>
                  <a:pt x="3347085" y="2638157"/>
                </a:cubicBezTo>
                <a:cubicBezTo>
                  <a:pt x="3327654" y="2639491"/>
                  <a:pt x="3308223" y="2640634"/>
                  <a:pt x="3288697" y="2641301"/>
                </a:cubicBezTo>
                <a:cubicBezTo>
                  <a:pt x="3269171" y="2642062"/>
                  <a:pt x="3249740" y="2643110"/>
                  <a:pt x="3230213" y="2643301"/>
                </a:cubicBezTo>
                <a:cubicBezTo>
                  <a:pt x="3210687" y="2643586"/>
                  <a:pt x="3191256" y="2644349"/>
                  <a:pt x="3171730" y="2644253"/>
                </a:cubicBezTo>
                <a:lnTo>
                  <a:pt x="3113246" y="2644253"/>
                </a:lnTo>
                <a:cubicBezTo>
                  <a:pt x="3055239" y="2643301"/>
                  <a:pt x="2997232" y="2641777"/>
                  <a:pt x="2939320" y="2638252"/>
                </a:cubicBezTo>
                <a:cubicBezTo>
                  <a:pt x="2910364" y="2636824"/>
                  <a:pt x="2881408" y="2634728"/>
                  <a:pt x="2852452" y="2632442"/>
                </a:cubicBezTo>
                <a:cubicBezTo>
                  <a:pt x="2823496" y="2630537"/>
                  <a:pt x="2794635" y="2627394"/>
                  <a:pt x="2765679" y="2624822"/>
                </a:cubicBezTo>
                <a:cubicBezTo>
                  <a:pt x="2736818" y="2622060"/>
                  <a:pt x="2707958" y="2618631"/>
                  <a:pt x="2679097" y="2615488"/>
                </a:cubicBezTo>
                <a:cubicBezTo>
                  <a:pt x="2650331" y="2611773"/>
                  <a:pt x="2621471" y="2608344"/>
                  <a:pt x="2592705" y="2604344"/>
                </a:cubicBezTo>
                <a:cubicBezTo>
                  <a:pt x="2563940" y="2600057"/>
                  <a:pt x="2535174" y="2596438"/>
                  <a:pt x="2506504" y="2591675"/>
                </a:cubicBezTo>
                <a:cubicBezTo>
                  <a:pt x="2477834" y="2587103"/>
                  <a:pt x="2449068" y="2582722"/>
                  <a:pt x="2420493" y="2577578"/>
                </a:cubicBezTo>
                <a:cubicBezTo>
                  <a:pt x="2391918" y="2572625"/>
                  <a:pt x="2363248" y="2567672"/>
                  <a:pt x="2334768" y="2562052"/>
                </a:cubicBezTo>
                <a:lnTo>
                  <a:pt x="2292001" y="2553861"/>
                </a:lnTo>
                <a:lnTo>
                  <a:pt x="2249329" y="2545098"/>
                </a:lnTo>
                <a:cubicBezTo>
                  <a:pt x="2220849" y="2539383"/>
                  <a:pt x="2192465" y="2533192"/>
                  <a:pt x="2164080" y="2526810"/>
                </a:cubicBezTo>
                <a:cubicBezTo>
                  <a:pt x="2135696" y="2520714"/>
                  <a:pt x="2107406" y="2513951"/>
                  <a:pt x="2079117" y="2507188"/>
                </a:cubicBezTo>
                <a:cubicBezTo>
                  <a:pt x="2050828" y="2500711"/>
                  <a:pt x="2022634" y="2493377"/>
                  <a:pt x="1994440" y="2486329"/>
                </a:cubicBezTo>
                <a:cubicBezTo>
                  <a:pt x="1966246" y="2479471"/>
                  <a:pt x="1938242" y="2471660"/>
                  <a:pt x="1910144" y="2464231"/>
                </a:cubicBezTo>
                <a:cubicBezTo>
                  <a:pt x="1882045" y="2456992"/>
                  <a:pt x="1854137" y="2448705"/>
                  <a:pt x="1826133" y="2440894"/>
                </a:cubicBezTo>
                <a:cubicBezTo>
                  <a:pt x="1798130" y="2433179"/>
                  <a:pt x="1770317" y="2424511"/>
                  <a:pt x="1742408" y="2416415"/>
                </a:cubicBezTo>
                <a:lnTo>
                  <a:pt x="1715738" y="2408510"/>
                </a:lnTo>
                <a:lnTo>
                  <a:pt x="1715453" y="2408510"/>
                </a:lnTo>
                <a:cubicBezTo>
                  <a:pt x="1715453" y="2408510"/>
                  <a:pt x="1715357" y="2408510"/>
                  <a:pt x="1715357" y="2408510"/>
                </a:cubicBezTo>
                <a:lnTo>
                  <a:pt x="1588961" y="2489758"/>
                </a:lnTo>
                <a:cubicBezTo>
                  <a:pt x="1568863" y="2502235"/>
                  <a:pt x="1549813" y="2516333"/>
                  <a:pt x="1530287" y="2529763"/>
                </a:cubicBezTo>
                <a:lnTo>
                  <a:pt x="1472184" y="2570435"/>
                </a:lnTo>
                <a:lnTo>
                  <a:pt x="1443133" y="2590818"/>
                </a:lnTo>
                <a:cubicBezTo>
                  <a:pt x="1433513" y="2597676"/>
                  <a:pt x="1424273" y="2605105"/>
                  <a:pt x="1414748" y="2612154"/>
                </a:cubicBezTo>
                <a:lnTo>
                  <a:pt x="1358265" y="2655112"/>
                </a:lnTo>
                <a:lnTo>
                  <a:pt x="1329976" y="2676638"/>
                </a:lnTo>
                <a:lnTo>
                  <a:pt x="1315879" y="2687402"/>
                </a:lnTo>
                <a:lnTo>
                  <a:pt x="1302163" y="2698641"/>
                </a:lnTo>
                <a:lnTo>
                  <a:pt x="1247394" y="2743789"/>
                </a:lnTo>
                <a:cubicBezTo>
                  <a:pt x="1101757" y="2864662"/>
                  <a:pt x="964883" y="2996297"/>
                  <a:pt x="838771" y="3137553"/>
                </a:cubicBezTo>
                <a:cubicBezTo>
                  <a:pt x="712851" y="3278904"/>
                  <a:pt x="596932" y="3429304"/>
                  <a:pt x="494157" y="3588371"/>
                </a:cubicBezTo>
                <a:cubicBezTo>
                  <a:pt x="391763" y="3747629"/>
                  <a:pt x="299847" y="3913841"/>
                  <a:pt x="223171" y="4087005"/>
                </a:cubicBezTo>
                <a:lnTo>
                  <a:pt x="204311" y="4129391"/>
                </a:lnTo>
                <a:cubicBezTo>
                  <a:pt x="192596" y="4157966"/>
                  <a:pt x="173831" y="4200448"/>
                  <a:pt x="151924" y="4258264"/>
                </a:cubicBezTo>
                <a:cubicBezTo>
                  <a:pt x="140399" y="4286935"/>
                  <a:pt x="129064" y="4319796"/>
                  <a:pt x="115729" y="4356086"/>
                </a:cubicBezTo>
                <a:cubicBezTo>
                  <a:pt x="103251" y="4392662"/>
                  <a:pt x="89535" y="4432953"/>
                  <a:pt x="76010" y="4477339"/>
                </a:cubicBezTo>
                <a:cubicBezTo>
                  <a:pt x="62389" y="4521726"/>
                  <a:pt x="48673" y="4570018"/>
                  <a:pt x="35528" y="4622596"/>
                </a:cubicBezTo>
                <a:cubicBezTo>
                  <a:pt x="22479" y="4675364"/>
                  <a:pt x="9620" y="4731467"/>
                  <a:pt x="0" y="4793951"/>
                </a:cubicBezTo>
                <a:lnTo>
                  <a:pt x="9430" y="4795189"/>
                </a:lnTo>
                <a:lnTo>
                  <a:pt x="18860" y="4796427"/>
                </a:lnTo>
                <a:lnTo>
                  <a:pt x="28289" y="4797665"/>
                </a:lnTo>
                <a:lnTo>
                  <a:pt x="37719" y="4798904"/>
                </a:lnTo>
                <a:cubicBezTo>
                  <a:pt x="46863" y="4739849"/>
                  <a:pt x="59626" y="4683365"/>
                  <a:pt x="72485" y="4631740"/>
                </a:cubicBezTo>
                <a:cubicBezTo>
                  <a:pt x="85439" y="4579924"/>
                  <a:pt x="98965" y="4532204"/>
                  <a:pt x="112490" y="4488389"/>
                </a:cubicBezTo>
                <a:cubicBezTo>
                  <a:pt x="125825" y="4444574"/>
                  <a:pt x="139351" y="4404759"/>
                  <a:pt x="151733" y="4368564"/>
                </a:cubicBezTo>
                <a:cubicBezTo>
                  <a:pt x="164878" y="4332655"/>
                  <a:pt x="176022" y="4300175"/>
                  <a:pt x="187452" y="4271790"/>
                </a:cubicBezTo>
                <a:cubicBezTo>
                  <a:pt x="209074" y="4214640"/>
                  <a:pt x="227648" y="4172635"/>
                  <a:pt x="239268" y="4144345"/>
                </a:cubicBezTo>
                <a:lnTo>
                  <a:pt x="257937" y="4102435"/>
                </a:lnTo>
                <a:cubicBezTo>
                  <a:pt x="333756" y="3931081"/>
                  <a:pt x="424720" y="3766584"/>
                  <a:pt x="526066" y="3608945"/>
                </a:cubicBezTo>
                <a:cubicBezTo>
                  <a:pt x="627793" y="3451497"/>
                  <a:pt x="742474" y="3302621"/>
                  <a:pt x="867156" y="3162699"/>
                </a:cubicBezTo>
                <a:cubicBezTo>
                  <a:pt x="991934" y="3022872"/>
                  <a:pt x="1127379" y="2892570"/>
                  <a:pt x="1271683" y="2772936"/>
                </a:cubicBezTo>
                <a:lnTo>
                  <a:pt x="1325975" y="2728264"/>
                </a:lnTo>
                <a:lnTo>
                  <a:pt x="1339501" y="2717119"/>
                </a:lnTo>
                <a:lnTo>
                  <a:pt x="1353503" y="2706452"/>
                </a:lnTo>
                <a:lnTo>
                  <a:pt x="1381506" y="2685211"/>
                </a:lnTo>
                <a:lnTo>
                  <a:pt x="1437418" y="2642634"/>
                </a:lnTo>
                <a:cubicBezTo>
                  <a:pt x="1446752" y="2635585"/>
                  <a:pt x="1455992" y="2628346"/>
                  <a:pt x="1465517" y="2621488"/>
                </a:cubicBezTo>
                <a:lnTo>
                  <a:pt x="1494282" y="2601295"/>
                </a:lnTo>
                <a:lnTo>
                  <a:pt x="1551908" y="2561005"/>
                </a:lnTo>
                <a:cubicBezTo>
                  <a:pt x="1571149" y="2547670"/>
                  <a:pt x="1590008" y="2533668"/>
                  <a:pt x="1610011" y="2521381"/>
                </a:cubicBezTo>
                <a:lnTo>
                  <a:pt x="1721358" y="2449848"/>
                </a:lnTo>
                <a:lnTo>
                  <a:pt x="1721358" y="2449848"/>
                </a:lnTo>
                <a:cubicBezTo>
                  <a:pt x="1721358" y="2449848"/>
                  <a:pt x="1721358" y="2449848"/>
                  <a:pt x="1721358" y="2449848"/>
                </a:cubicBezTo>
                <a:cubicBezTo>
                  <a:pt x="1721358" y="2449848"/>
                  <a:pt x="1721168" y="2449848"/>
                  <a:pt x="1722311" y="2450134"/>
                </a:cubicBezTo>
                <a:lnTo>
                  <a:pt x="1731550" y="2452896"/>
                </a:lnTo>
                <a:cubicBezTo>
                  <a:pt x="1759649" y="2461087"/>
                  <a:pt x="1787557" y="2469755"/>
                  <a:pt x="1815751" y="2477470"/>
                </a:cubicBezTo>
                <a:cubicBezTo>
                  <a:pt x="1843945" y="2485281"/>
                  <a:pt x="1871948" y="2493568"/>
                  <a:pt x="1900238" y="2500902"/>
                </a:cubicBezTo>
                <a:cubicBezTo>
                  <a:pt x="1928527" y="2508331"/>
                  <a:pt x="1956721" y="2516142"/>
                  <a:pt x="1985105" y="2523095"/>
                </a:cubicBezTo>
                <a:cubicBezTo>
                  <a:pt x="2013490" y="2530144"/>
                  <a:pt x="2041779" y="2537573"/>
                  <a:pt x="2070259" y="2544050"/>
                </a:cubicBezTo>
                <a:cubicBezTo>
                  <a:pt x="2098739" y="2550813"/>
                  <a:pt x="2127123" y="2557576"/>
                  <a:pt x="2155793" y="2563767"/>
                </a:cubicBezTo>
                <a:cubicBezTo>
                  <a:pt x="2184368" y="2570149"/>
                  <a:pt x="2212943" y="2576435"/>
                  <a:pt x="2241614" y="2582150"/>
                </a:cubicBezTo>
                <a:lnTo>
                  <a:pt x="2284571" y="2591009"/>
                </a:lnTo>
                <a:lnTo>
                  <a:pt x="2327720" y="2599200"/>
                </a:lnTo>
                <a:cubicBezTo>
                  <a:pt x="2356390" y="2604820"/>
                  <a:pt x="2385251" y="2609868"/>
                  <a:pt x="2414111" y="2614916"/>
                </a:cubicBezTo>
                <a:cubicBezTo>
                  <a:pt x="2442877" y="2620155"/>
                  <a:pt x="2471833" y="2624536"/>
                  <a:pt x="2500694" y="2629109"/>
                </a:cubicBezTo>
                <a:cubicBezTo>
                  <a:pt x="2529554" y="2633871"/>
                  <a:pt x="2558605" y="2637586"/>
                  <a:pt x="2587562" y="2641872"/>
                </a:cubicBezTo>
                <a:cubicBezTo>
                  <a:pt x="2616518" y="2645872"/>
                  <a:pt x="2645664" y="2649302"/>
                  <a:pt x="2674620" y="2653016"/>
                </a:cubicBezTo>
                <a:cubicBezTo>
                  <a:pt x="2703767" y="2656160"/>
                  <a:pt x="2732818" y="2659588"/>
                  <a:pt x="2761964" y="2662446"/>
                </a:cubicBezTo>
                <a:cubicBezTo>
                  <a:pt x="2791111" y="2665018"/>
                  <a:pt x="2820257" y="2668161"/>
                  <a:pt x="2849499" y="2670161"/>
                </a:cubicBezTo>
                <a:cubicBezTo>
                  <a:pt x="2878741" y="2672447"/>
                  <a:pt x="2907887" y="2674543"/>
                  <a:pt x="2937129" y="2676067"/>
                </a:cubicBezTo>
                <a:cubicBezTo>
                  <a:pt x="2995613" y="2679686"/>
                  <a:pt x="3054191" y="2681210"/>
                  <a:pt x="3112770" y="2682163"/>
                </a:cubicBezTo>
                <a:lnTo>
                  <a:pt x="3171920" y="2682163"/>
                </a:lnTo>
                <a:cubicBezTo>
                  <a:pt x="3191637" y="2682163"/>
                  <a:pt x="3211354" y="2681496"/>
                  <a:pt x="3231071" y="2681115"/>
                </a:cubicBezTo>
                <a:cubicBezTo>
                  <a:pt x="3250787" y="2680925"/>
                  <a:pt x="3270504" y="2679781"/>
                  <a:pt x="3290221" y="2679019"/>
                </a:cubicBezTo>
                <a:cubicBezTo>
                  <a:pt x="3309938" y="2678353"/>
                  <a:pt x="3329654" y="2677210"/>
                  <a:pt x="3349371" y="2675781"/>
                </a:cubicBezTo>
                <a:cubicBezTo>
                  <a:pt x="3369088" y="2674543"/>
                  <a:pt x="3388805" y="2673304"/>
                  <a:pt x="3408426" y="2671400"/>
                </a:cubicBezTo>
                <a:cubicBezTo>
                  <a:pt x="3428143" y="2669685"/>
                  <a:pt x="3447764" y="2668161"/>
                  <a:pt x="3467386" y="2665780"/>
                </a:cubicBezTo>
                <a:cubicBezTo>
                  <a:pt x="3506724" y="2661684"/>
                  <a:pt x="3545872" y="2656445"/>
                  <a:pt x="3585020" y="2650349"/>
                </a:cubicBezTo>
                <a:cubicBezTo>
                  <a:pt x="3624072" y="2644253"/>
                  <a:pt x="3663029" y="2637110"/>
                  <a:pt x="3701796" y="2628823"/>
                </a:cubicBezTo>
                <a:cubicBezTo>
                  <a:pt x="3740468" y="2620441"/>
                  <a:pt x="3779044" y="2611106"/>
                  <a:pt x="3817239" y="2600343"/>
                </a:cubicBezTo>
                <a:cubicBezTo>
                  <a:pt x="3855434" y="2589485"/>
                  <a:pt x="3893344" y="2577674"/>
                  <a:pt x="3930587" y="2563958"/>
                </a:cubicBezTo>
                <a:lnTo>
                  <a:pt x="3958590" y="2553670"/>
                </a:lnTo>
                <a:lnTo>
                  <a:pt x="3986213" y="2542431"/>
                </a:lnTo>
                <a:cubicBezTo>
                  <a:pt x="3995357" y="2538621"/>
                  <a:pt x="4004691" y="2535097"/>
                  <a:pt x="4013740" y="2530906"/>
                </a:cubicBezTo>
                <a:lnTo>
                  <a:pt x="4040886" y="2518523"/>
                </a:lnTo>
                <a:cubicBezTo>
                  <a:pt x="4059174" y="2510618"/>
                  <a:pt x="4076605" y="2500902"/>
                  <a:pt x="4094512" y="2492044"/>
                </a:cubicBezTo>
                <a:cubicBezTo>
                  <a:pt x="4112133" y="2482804"/>
                  <a:pt x="4129373" y="2472613"/>
                  <a:pt x="4146709" y="2462802"/>
                </a:cubicBezTo>
                <a:cubicBezTo>
                  <a:pt x="4180618" y="2441752"/>
                  <a:pt x="4214337" y="2420035"/>
                  <a:pt x="4245579" y="2394889"/>
                </a:cubicBezTo>
                <a:cubicBezTo>
                  <a:pt x="4277392" y="2370600"/>
                  <a:pt x="4306920" y="2343168"/>
                  <a:pt x="4335018" y="2314498"/>
                </a:cubicBezTo>
                <a:cubicBezTo>
                  <a:pt x="4348544" y="2299639"/>
                  <a:pt x="4362546" y="2285161"/>
                  <a:pt x="4374928" y="2269254"/>
                </a:cubicBezTo>
                <a:cubicBezTo>
                  <a:pt x="4381119" y="2261348"/>
                  <a:pt x="4387882" y="2253823"/>
                  <a:pt x="4393692" y="2245632"/>
                </a:cubicBezTo>
                <a:lnTo>
                  <a:pt x="4411313" y="2221057"/>
                </a:lnTo>
                <a:cubicBezTo>
                  <a:pt x="4417410" y="2213056"/>
                  <a:pt x="4422362" y="2204198"/>
                  <a:pt x="4427792" y="2195721"/>
                </a:cubicBezTo>
                <a:cubicBezTo>
                  <a:pt x="4433030" y="2187053"/>
                  <a:pt x="4438841" y="2178862"/>
                  <a:pt x="4443508" y="2169908"/>
                </a:cubicBezTo>
                <a:cubicBezTo>
                  <a:pt x="4453033" y="2152192"/>
                  <a:pt x="4463034" y="2134666"/>
                  <a:pt x="4471035" y="2116092"/>
                </a:cubicBezTo>
                <a:cubicBezTo>
                  <a:pt x="4488466" y="2079706"/>
                  <a:pt x="4501325" y="2041321"/>
                  <a:pt x="4512374" y="2002649"/>
                </a:cubicBezTo>
                <a:cubicBezTo>
                  <a:pt x="4533043" y="1924830"/>
                  <a:pt x="4541520" y="1844153"/>
                  <a:pt x="4539996" y="1764238"/>
                </a:cubicBezTo>
                <a:lnTo>
                  <a:pt x="4538091" y="1725186"/>
                </a:lnTo>
                <a:cubicBezTo>
                  <a:pt x="4537710" y="1712137"/>
                  <a:pt x="4536186" y="1699278"/>
                  <a:pt x="4534948" y="1686324"/>
                </a:cubicBezTo>
                <a:cubicBezTo>
                  <a:pt x="4532853" y="1660321"/>
                  <a:pt x="4528757" y="1634698"/>
                  <a:pt x="4524852" y="1609076"/>
                </a:cubicBezTo>
                <a:cubicBezTo>
                  <a:pt x="4515898" y="1557927"/>
                  <a:pt x="4504849" y="1507254"/>
                  <a:pt x="4490276" y="1457629"/>
                </a:cubicBezTo>
                <a:cubicBezTo>
                  <a:pt x="4486656" y="1445246"/>
                  <a:pt x="4483322" y="1432673"/>
                  <a:pt x="4479417" y="1420386"/>
                </a:cubicBezTo>
                <a:lnTo>
                  <a:pt x="4467225" y="1383619"/>
                </a:lnTo>
                <a:cubicBezTo>
                  <a:pt x="4459510" y="1358950"/>
                  <a:pt x="4449795" y="1335042"/>
                  <a:pt x="4441031" y="1310753"/>
                </a:cubicBezTo>
                <a:cubicBezTo>
                  <a:pt x="4431983" y="1286560"/>
                  <a:pt x="4421601" y="1262938"/>
                  <a:pt x="4411980" y="1239030"/>
                </a:cubicBezTo>
                <a:cubicBezTo>
                  <a:pt x="4401693" y="1215408"/>
                  <a:pt x="4390930" y="1191976"/>
                  <a:pt x="4380357" y="1168450"/>
                </a:cubicBezTo>
                <a:lnTo>
                  <a:pt x="4380357" y="1168259"/>
                </a:lnTo>
                <a:cubicBezTo>
                  <a:pt x="4375595" y="1157782"/>
                  <a:pt x="4370832" y="1147304"/>
                  <a:pt x="4366165" y="1136827"/>
                </a:cubicBezTo>
                <a:lnTo>
                  <a:pt x="4352068" y="1105394"/>
                </a:lnTo>
                <a:cubicBezTo>
                  <a:pt x="4343019" y="1084344"/>
                  <a:pt x="4334637" y="1063008"/>
                  <a:pt x="4325874" y="1041767"/>
                </a:cubicBezTo>
                <a:cubicBezTo>
                  <a:pt x="4317397" y="1020526"/>
                  <a:pt x="4310063" y="998809"/>
                  <a:pt x="4302157" y="977378"/>
                </a:cubicBezTo>
                <a:cubicBezTo>
                  <a:pt x="4294632" y="955756"/>
                  <a:pt x="4288155" y="933849"/>
                  <a:pt x="4281202" y="912132"/>
                </a:cubicBezTo>
                <a:cubicBezTo>
                  <a:pt x="4275106" y="890129"/>
                  <a:pt x="4269105" y="868126"/>
                  <a:pt x="4263581" y="846028"/>
                </a:cubicBezTo>
                <a:lnTo>
                  <a:pt x="4256437" y="812691"/>
                </a:lnTo>
                <a:lnTo>
                  <a:pt x="4252818" y="796022"/>
                </a:lnTo>
                <a:lnTo>
                  <a:pt x="4250055" y="779258"/>
                </a:lnTo>
                <a:lnTo>
                  <a:pt x="4244626" y="745635"/>
                </a:lnTo>
                <a:cubicBezTo>
                  <a:pt x="4243102" y="734395"/>
                  <a:pt x="4242245" y="723156"/>
                  <a:pt x="4241006" y="711821"/>
                </a:cubicBezTo>
                <a:cubicBezTo>
                  <a:pt x="4238054" y="689342"/>
                  <a:pt x="4238244" y="666768"/>
                  <a:pt x="4237006" y="644194"/>
                </a:cubicBezTo>
                <a:lnTo>
                  <a:pt x="4237673" y="616190"/>
                </a:lnTo>
                <a:cubicBezTo>
                  <a:pt x="4237863" y="606856"/>
                  <a:pt x="4237959" y="597521"/>
                  <a:pt x="4239102" y="588282"/>
                </a:cubicBezTo>
                <a:lnTo>
                  <a:pt x="4241769" y="560469"/>
                </a:lnTo>
                <a:cubicBezTo>
                  <a:pt x="4242626" y="551230"/>
                  <a:pt x="4244721" y="542086"/>
                  <a:pt x="4246055" y="532942"/>
                </a:cubicBezTo>
                <a:cubicBezTo>
                  <a:pt x="4248531" y="514463"/>
                  <a:pt x="4253865" y="496651"/>
                  <a:pt x="4258056" y="478649"/>
                </a:cubicBezTo>
                <a:cubicBezTo>
                  <a:pt x="4260628" y="469791"/>
                  <a:pt x="4263866" y="461123"/>
                  <a:pt x="4266629" y="452265"/>
                </a:cubicBezTo>
                <a:cubicBezTo>
                  <a:pt x="4268153" y="447883"/>
                  <a:pt x="4269486" y="443502"/>
                  <a:pt x="4271105" y="439120"/>
                </a:cubicBezTo>
                <a:lnTo>
                  <a:pt x="4276535" y="426357"/>
                </a:lnTo>
                <a:cubicBezTo>
                  <a:pt x="4290155" y="391972"/>
                  <a:pt x="4308920" y="359872"/>
                  <a:pt x="4330732" y="330154"/>
                </a:cubicBezTo>
                <a:cubicBezTo>
                  <a:pt x="4341305" y="315010"/>
                  <a:pt x="4353782" y="301294"/>
                  <a:pt x="4365879" y="287292"/>
                </a:cubicBezTo>
                <a:cubicBezTo>
                  <a:pt x="4379024" y="274243"/>
                  <a:pt x="4391692" y="260812"/>
                  <a:pt x="4406170" y="249001"/>
                </a:cubicBezTo>
                <a:cubicBezTo>
                  <a:pt x="4419886" y="236428"/>
                  <a:pt x="4435126" y="225760"/>
                  <a:pt x="4449985" y="214521"/>
                </a:cubicBezTo>
                <a:cubicBezTo>
                  <a:pt x="4465511" y="204139"/>
                  <a:pt x="4480846" y="193566"/>
                  <a:pt x="4497229" y="184422"/>
                </a:cubicBezTo>
                <a:cubicBezTo>
                  <a:pt x="4513136" y="174611"/>
                  <a:pt x="4530090" y="166515"/>
                  <a:pt x="4546759" y="157847"/>
                </a:cubicBezTo>
                <a:cubicBezTo>
                  <a:pt x="4563904" y="150132"/>
                  <a:pt x="4580763" y="141845"/>
                  <a:pt x="4598385" y="135082"/>
                </a:cubicBezTo>
                <a:cubicBezTo>
                  <a:pt x="4668012" y="106412"/>
                  <a:pt x="4741640" y="86981"/>
                  <a:pt x="4816031" y="72122"/>
                </a:cubicBezTo>
                <a:cubicBezTo>
                  <a:pt x="4926616" y="50691"/>
                  <a:pt x="5039582" y="41071"/>
                  <a:pt x="5152644" y="38308"/>
                </a:cubicBezTo>
                <a:lnTo>
                  <a:pt x="5192554" y="37642"/>
                </a:lnTo>
                <a:cubicBezTo>
                  <a:pt x="5219129" y="37642"/>
                  <a:pt x="5259039" y="37261"/>
                  <a:pt x="5312283" y="38975"/>
                </a:cubicBezTo>
                <a:cubicBezTo>
                  <a:pt x="5365528" y="40594"/>
                  <a:pt x="5432012" y="44023"/>
                  <a:pt x="5511641" y="51167"/>
                </a:cubicBezTo>
                <a:cubicBezTo>
                  <a:pt x="5591080" y="58406"/>
                  <a:pt x="5684330" y="68884"/>
                  <a:pt x="5788533" y="87362"/>
                </a:cubicBezTo>
                <a:close/>
              </a:path>
            </a:pathLst>
          </a:custGeom>
          <a:gradFill flip="none" rotWithShape="1">
            <a:gsLst>
              <a:gs pos="88000">
                <a:schemeClr val="accent2">
                  <a:alpha val="0"/>
                </a:schemeClr>
              </a:gs>
              <a:gs pos="13000">
                <a:schemeClr val="accent2">
                  <a:alpha val="0"/>
                </a:schemeClr>
              </a:gs>
              <a:gs pos="61000">
                <a:srgbClr val="12ABDB"/>
              </a:gs>
              <a:gs pos="36000">
                <a:srgbClr val="12ABDB"/>
              </a:gs>
            </a:gsLst>
            <a:lin ang="8100000" scaled="1"/>
            <a:tileRect/>
          </a:gradFill>
          <a:ln w="0" cap="flat">
            <a:noFill/>
            <a:prstDash val="solid"/>
            <a:miter/>
          </a:ln>
        </p:spPr>
        <p:txBody>
          <a:bodyPr rtlCol="0" anchor="ctr"/>
          <a:lstStyle/>
          <a:p>
            <a:endParaRPr lang="en-US"/>
          </a:p>
        </p:txBody>
      </p:sp>
      <p:sp>
        <p:nvSpPr>
          <p:cNvPr id="18" name="Text Placeholder 17">
            <a:extLst>
              <a:ext uri="{FF2B5EF4-FFF2-40B4-BE49-F238E27FC236}">
                <a16:creationId xmlns:a16="http://schemas.microsoft.com/office/drawing/2014/main" id="{D74810FA-D842-59F4-7D96-E420ED9A5968}"/>
              </a:ext>
            </a:extLst>
          </p:cNvPr>
          <p:cNvSpPr>
            <a:spLocks noGrp="1"/>
          </p:cNvSpPr>
          <p:nvPr>
            <p:ph type="body" sz="quarter" idx="10" hasCustomPrompt="1"/>
          </p:nvPr>
        </p:nvSpPr>
        <p:spPr>
          <a:xfrm>
            <a:off x="407987" y="885825"/>
            <a:ext cx="4606925" cy="2113007"/>
          </a:xfrm>
        </p:spPr>
        <p:txBody>
          <a:bodyPr anchor="b"/>
          <a:lstStyle>
            <a:lvl1pPr>
              <a:defRPr kumimoji="0" lang="en-US" sz="3600" b="0" i="0" u="none" strike="noStrike" kern="1200" cap="none" spc="0" normalizeH="0" baseline="0" dirty="0">
                <a:ln>
                  <a:noFill/>
                </a:ln>
                <a:solidFill>
                  <a:schemeClr val="tx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tab pos="1258888" algn="l"/>
              </a:tabLst>
            </a:pPr>
            <a:r>
              <a:rPr lang="en-US"/>
              <a:t>Click to insert cover title (sentence case)</a:t>
            </a:r>
          </a:p>
        </p:txBody>
      </p:sp>
    </p:spTree>
    <p:extLst>
      <p:ext uri="{BB962C8B-B14F-4D97-AF65-F5344CB8AC3E}">
        <p14:creationId xmlns:p14="http://schemas.microsoft.com/office/powerpoint/2010/main" val="5577502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5c">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0" name="Rectangle 9">
            <a:extLst>
              <a:ext uri="{FF2B5EF4-FFF2-40B4-BE49-F238E27FC236}">
                <a16:creationId xmlns:a16="http://schemas.microsoft.com/office/drawing/2014/main" id="{7DB5E821-963F-1502-8249-D726A8EFD0B6}"/>
              </a:ext>
            </a:extLst>
          </p:cNvPr>
          <p:cNvSpPr/>
          <p:nvPr userDrawn="1"/>
        </p:nvSpPr>
        <p:spPr>
          <a:xfrm>
            <a:off x="1343472" y="-8139"/>
            <a:ext cx="10848527" cy="2940026"/>
          </a:xfrm>
          <a:prstGeom prst="rect">
            <a:avLst/>
          </a:prstGeom>
          <a:solidFill>
            <a:schemeClr val="accent4"/>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Photo placeholder</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hasCustomPrompt="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insert subtitle (sentence case) </a:t>
            </a:r>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tx1"/>
                </a:solidFill>
                <a:latin typeface="+mj-lt"/>
              </a:defRPr>
            </a:lvl1pPr>
          </a:lstStyle>
          <a:p>
            <a:r>
              <a:rPr lang="fr-FR"/>
              <a:t>Click to insert cover </a:t>
            </a:r>
            <a:r>
              <a:rPr lang="fr-FR" err="1"/>
              <a:t>title</a:t>
            </a:r>
            <a:r>
              <a:rPr lang="fr-FR"/>
              <a:t> (sentence case) </a:t>
            </a:r>
            <a:endParaRPr lang="en-GB"/>
          </a:p>
        </p:txBody>
      </p:sp>
      <p:grpSp>
        <p:nvGrpSpPr>
          <p:cNvPr id="2" name="Group 1">
            <a:extLst>
              <a:ext uri="{FF2B5EF4-FFF2-40B4-BE49-F238E27FC236}">
                <a16:creationId xmlns:a16="http://schemas.microsoft.com/office/drawing/2014/main" id="{A6A8A661-3751-29DA-1AB9-334A7C98EA59}"/>
              </a:ext>
            </a:extLst>
          </p:cNvPr>
          <p:cNvGrpSpPr>
            <a:grpSpLocks noChangeAspect="1"/>
          </p:cNvGrpSpPr>
          <p:nvPr userDrawn="1"/>
        </p:nvGrpSpPr>
        <p:grpSpPr>
          <a:xfrm>
            <a:off x="1343473" y="6021288"/>
            <a:ext cx="1872000" cy="420870"/>
            <a:chOff x="5095385" y="4090756"/>
            <a:chExt cx="3033729" cy="682053"/>
          </a:xfrm>
        </p:grpSpPr>
        <p:sp>
          <p:nvSpPr>
            <p:cNvPr id="3" name="Freeform: Shape 2">
              <a:extLst>
                <a:ext uri="{FF2B5EF4-FFF2-40B4-BE49-F238E27FC236}">
                  <a16:creationId xmlns:a16="http://schemas.microsoft.com/office/drawing/2014/main" id="{AE0FC8CB-F05E-FFD4-8D7F-1F94AC26DA2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4" name="Freeform: Shape 3">
              <a:extLst>
                <a:ext uri="{FF2B5EF4-FFF2-40B4-BE49-F238E27FC236}">
                  <a16:creationId xmlns:a16="http://schemas.microsoft.com/office/drawing/2014/main" id="{934D3664-9369-B221-FD17-0597A682848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5" name="Freeform: Shape 4">
              <a:extLst>
                <a:ext uri="{FF2B5EF4-FFF2-40B4-BE49-F238E27FC236}">
                  <a16:creationId xmlns:a16="http://schemas.microsoft.com/office/drawing/2014/main" id="{17A7E500-54F5-1815-C9B9-3954ED883928}"/>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4" name="Freeform: Shape 14">
              <a:extLst>
                <a:ext uri="{FF2B5EF4-FFF2-40B4-BE49-F238E27FC236}">
                  <a16:creationId xmlns:a16="http://schemas.microsoft.com/office/drawing/2014/main" id="{AE2D512F-FC3A-33B0-5954-0D1BFB4C1437}"/>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5" name="Freeform: Shape 20">
              <a:extLst>
                <a:ext uri="{FF2B5EF4-FFF2-40B4-BE49-F238E27FC236}">
                  <a16:creationId xmlns:a16="http://schemas.microsoft.com/office/drawing/2014/main" id="{BB0A86DD-9E86-EB4E-14DC-ECC7130D6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
        <p:nvSpPr>
          <p:cNvPr id="9" name="Graphic 3">
            <a:extLst>
              <a:ext uri="{FF2B5EF4-FFF2-40B4-BE49-F238E27FC236}">
                <a16:creationId xmlns:a16="http://schemas.microsoft.com/office/drawing/2014/main" id="{91D42C6D-FBDD-0510-573C-668313ED8D62}"/>
              </a:ext>
            </a:extLst>
          </p:cNvPr>
          <p:cNvSpPr/>
          <p:nvPr userDrawn="1"/>
        </p:nvSpPr>
        <p:spPr>
          <a:xfrm>
            <a:off x="-2677593" y="786488"/>
            <a:ext cx="11013527" cy="4283932"/>
          </a:xfrm>
          <a:custGeom>
            <a:avLst/>
            <a:gdLst>
              <a:gd name="connsiteX0" fmla="*/ 7439120 w 7439501"/>
              <a:gd name="connsiteY0" fmla="*/ 30480 h 2893743"/>
              <a:gd name="connsiteX1" fmla="*/ 7433310 w 7439501"/>
              <a:gd name="connsiteY1" fmla="*/ 22860 h 2893743"/>
              <a:gd name="connsiteX2" fmla="*/ 7427500 w 7439501"/>
              <a:gd name="connsiteY2" fmla="*/ 15240 h 2893743"/>
              <a:gd name="connsiteX3" fmla="*/ 7421689 w 7439501"/>
              <a:gd name="connsiteY3" fmla="*/ 7620 h 2893743"/>
              <a:gd name="connsiteX4" fmla="*/ 7415879 w 7439501"/>
              <a:gd name="connsiteY4" fmla="*/ 0 h 2893743"/>
              <a:gd name="connsiteX5" fmla="*/ 7328249 w 7439501"/>
              <a:gd name="connsiteY5" fmla="*/ 64484 h 2893743"/>
              <a:gd name="connsiteX6" fmla="*/ 7251668 w 7439501"/>
              <a:gd name="connsiteY6" fmla="*/ 119444 h 2893743"/>
              <a:gd name="connsiteX7" fmla="*/ 7185756 w 7439501"/>
              <a:gd name="connsiteY7" fmla="*/ 164402 h 2893743"/>
              <a:gd name="connsiteX8" fmla="*/ 7131558 w 7439501"/>
              <a:gd name="connsiteY8" fmla="*/ 200692 h 2893743"/>
              <a:gd name="connsiteX9" fmla="*/ 7033356 w 7439501"/>
              <a:gd name="connsiteY9" fmla="*/ 262223 h 2893743"/>
              <a:gd name="connsiteX10" fmla="*/ 6979730 w 7439501"/>
              <a:gd name="connsiteY10" fmla="*/ 293656 h 2893743"/>
              <a:gd name="connsiteX11" fmla="*/ 6925723 w 7439501"/>
              <a:gd name="connsiteY11" fmla="*/ 324422 h 2893743"/>
              <a:gd name="connsiteX12" fmla="*/ 6898767 w 7439501"/>
              <a:gd name="connsiteY12" fmla="*/ 339852 h 2893743"/>
              <a:gd name="connsiteX13" fmla="*/ 6871240 w 7439501"/>
              <a:gd name="connsiteY13" fmla="*/ 354140 h 2893743"/>
              <a:gd name="connsiteX14" fmla="*/ 6815995 w 7439501"/>
              <a:gd name="connsiteY14" fmla="*/ 382429 h 2893743"/>
              <a:gd name="connsiteX15" fmla="*/ 6760274 w 7439501"/>
              <a:gd name="connsiteY15" fmla="*/ 409766 h 2893743"/>
              <a:gd name="connsiteX16" fmla="*/ 6703790 w 7439501"/>
              <a:gd name="connsiteY16" fmla="*/ 435293 h 2893743"/>
              <a:gd name="connsiteX17" fmla="*/ 6589109 w 7439501"/>
              <a:gd name="connsiteY17" fmla="*/ 482346 h 2893743"/>
              <a:gd name="connsiteX18" fmla="*/ 6560249 w 7439501"/>
              <a:gd name="connsiteY18" fmla="*/ 493490 h 2893743"/>
              <a:gd name="connsiteX19" fmla="*/ 6530817 w 7439501"/>
              <a:gd name="connsiteY19" fmla="*/ 503111 h 2893743"/>
              <a:gd name="connsiteX20" fmla="*/ 6472047 w 7439501"/>
              <a:gd name="connsiteY20" fmla="*/ 522446 h 2893743"/>
              <a:gd name="connsiteX21" fmla="*/ 6442329 w 7439501"/>
              <a:gd name="connsiteY21" fmla="*/ 530924 h 2893743"/>
              <a:gd name="connsiteX22" fmla="*/ 6412421 w 7439501"/>
              <a:gd name="connsiteY22" fmla="*/ 538829 h 2893743"/>
              <a:gd name="connsiteX23" fmla="*/ 6382512 w 7439501"/>
              <a:gd name="connsiteY23" fmla="*/ 546735 h 2893743"/>
              <a:gd name="connsiteX24" fmla="*/ 6367558 w 7439501"/>
              <a:gd name="connsiteY24" fmla="*/ 550640 h 2893743"/>
              <a:gd name="connsiteX25" fmla="*/ 6352413 w 7439501"/>
              <a:gd name="connsiteY25" fmla="*/ 553688 h 2893743"/>
              <a:gd name="connsiteX26" fmla="*/ 6291929 w 7439501"/>
              <a:gd name="connsiteY26" fmla="*/ 565595 h 2893743"/>
              <a:gd name="connsiteX27" fmla="*/ 6276785 w 7439501"/>
              <a:gd name="connsiteY27" fmla="*/ 568547 h 2893743"/>
              <a:gd name="connsiteX28" fmla="*/ 6261545 w 7439501"/>
              <a:gd name="connsiteY28" fmla="*/ 570548 h 2893743"/>
              <a:gd name="connsiteX29" fmla="*/ 6230970 w 7439501"/>
              <a:gd name="connsiteY29" fmla="*/ 574453 h 2893743"/>
              <a:gd name="connsiteX30" fmla="*/ 6108383 w 7439501"/>
              <a:gd name="connsiteY30" fmla="*/ 584264 h 2893743"/>
              <a:gd name="connsiteX31" fmla="*/ 6047232 w 7439501"/>
              <a:gd name="connsiteY31" fmla="*/ 583216 h 2893743"/>
              <a:gd name="connsiteX32" fmla="*/ 6031992 w 7439501"/>
              <a:gd name="connsiteY32" fmla="*/ 582930 h 2893743"/>
              <a:gd name="connsiteX33" fmla="*/ 6016752 w 7439501"/>
              <a:gd name="connsiteY33" fmla="*/ 581501 h 2893743"/>
              <a:gd name="connsiteX34" fmla="*/ 5986368 w 7439501"/>
              <a:gd name="connsiteY34" fmla="*/ 578644 h 2893743"/>
              <a:gd name="connsiteX35" fmla="*/ 5955983 w 7439501"/>
              <a:gd name="connsiteY35" fmla="*/ 575501 h 2893743"/>
              <a:gd name="connsiteX36" fmla="*/ 5925979 w 7439501"/>
              <a:gd name="connsiteY36" fmla="*/ 570357 h 2893743"/>
              <a:gd name="connsiteX37" fmla="*/ 5895975 w 7439501"/>
              <a:gd name="connsiteY37" fmla="*/ 565214 h 2893743"/>
              <a:gd name="connsiteX38" fmla="*/ 5866352 w 7439501"/>
              <a:gd name="connsiteY38" fmla="*/ 557975 h 2893743"/>
              <a:gd name="connsiteX39" fmla="*/ 5642324 w 7439501"/>
              <a:gd name="connsiteY39" fmla="*/ 465773 h 2893743"/>
              <a:gd name="connsiteX40" fmla="*/ 5456397 w 7439501"/>
              <a:gd name="connsiteY40" fmla="*/ 310229 h 2893743"/>
              <a:gd name="connsiteX41" fmla="*/ 5382483 w 7439501"/>
              <a:gd name="connsiteY41" fmla="*/ 213551 h 2893743"/>
              <a:gd name="connsiteX42" fmla="*/ 5324475 w 7439501"/>
              <a:gd name="connsiteY42" fmla="*/ 107061 h 2893743"/>
              <a:gd name="connsiteX43" fmla="*/ 5316474 w 7439501"/>
              <a:gd name="connsiteY43" fmla="*/ 88202 h 2893743"/>
              <a:gd name="connsiteX44" fmla="*/ 5305235 w 7439501"/>
              <a:gd name="connsiteY44" fmla="*/ 58484 h 2893743"/>
              <a:gd name="connsiteX45" fmla="*/ 5304854 w 7439501"/>
              <a:gd name="connsiteY45" fmla="*/ 58388 h 2893743"/>
              <a:gd name="connsiteX46" fmla="*/ 5289233 w 7439501"/>
              <a:gd name="connsiteY46" fmla="*/ 55626 h 2893743"/>
              <a:gd name="connsiteX47" fmla="*/ 5281994 w 7439501"/>
              <a:gd name="connsiteY47" fmla="*/ 54388 h 2893743"/>
              <a:gd name="connsiteX48" fmla="*/ 5277898 w 7439501"/>
              <a:gd name="connsiteY48" fmla="*/ 53816 h 2893743"/>
              <a:gd name="connsiteX49" fmla="*/ 5261420 w 7439501"/>
              <a:gd name="connsiteY49" fmla="*/ 51530 h 2893743"/>
              <a:gd name="connsiteX50" fmla="*/ 5228463 w 7439501"/>
              <a:gd name="connsiteY50" fmla="*/ 47625 h 2893743"/>
              <a:gd name="connsiteX51" fmla="*/ 5195507 w 7439501"/>
              <a:gd name="connsiteY51" fmla="*/ 44577 h 2893743"/>
              <a:gd name="connsiteX52" fmla="*/ 5162550 w 7439501"/>
              <a:gd name="connsiteY52" fmla="*/ 42196 h 2893743"/>
              <a:gd name="connsiteX53" fmla="*/ 5129594 w 7439501"/>
              <a:gd name="connsiteY53" fmla="*/ 40576 h 2893743"/>
              <a:gd name="connsiteX54" fmla="*/ 5096542 w 7439501"/>
              <a:gd name="connsiteY54" fmla="*/ 39529 h 2893743"/>
              <a:gd name="connsiteX55" fmla="*/ 5030534 w 7439501"/>
              <a:gd name="connsiteY55" fmla="*/ 38957 h 2893743"/>
              <a:gd name="connsiteX56" fmla="*/ 4975956 w 7439501"/>
              <a:gd name="connsiteY56" fmla="*/ 40386 h 2893743"/>
              <a:gd name="connsiteX57" fmla="*/ 4921377 w 7439501"/>
              <a:gd name="connsiteY57" fmla="*/ 43244 h 2893743"/>
              <a:gd name="connsiteX58" fmla="*/ 4866894 w 7439501"/>
              <a:gd name="connsiteY58" fmla="*/ 47625 h 2893743"/>
              <a:gd name="connsiteX59" fmla="*/ 4812602 w 7439501"/>
              <a:gd name="connsiteY59" fmla="*/ 53435 h 2893743"/>
              <a:gd name="connsiteX60" fmla="*/ 4704588 w 7439501"/>
              <a:gd name="connsiteY60" fmla="*/ 69723 h 2893743"/>
              <a:gd name="connsiteX61" fmla="*/ 4650962 w 7439501"/>
              <a:gd name="connsiteY61" fmla="*/ 80010 h 2893743"/>
              <a:gd name="connsiteX62" fmla="*/ 4597623 w 7439501"/>
              <a:gd name="connsiteY62" fmla="*/ 91726 h 2893743"/>
              <a:gd name="connsiteX63" fmla="*/ 4544568 w 7439501"/>
              <a:gd name="connsiteY63" fmla="*/ 104775 h 2893743"/>
              <a:gd name="connsiteX64" fmla="*/ 4491990 w 7439501"/>
              <a:gd name="connsiteY64" fmla="*/ 119634 h 2893743"/>
              <a:gd name="connsiteX65" fmla="*/ 4439889 w 7439501"/>
              <a:gd name="connsiteY65" fmla="*/ 135922 h 2893743"/>
              <a:gd name="connsiteX66" fmla="*/ 4388168 w 7439501"/>
              <a:gd name="connsiteY66" fmla="*/ 153448 h 2893743"/>
              <a:gd name="connsiteX67" fmla="*/ 4336923 w 7439501"/>
              <a:gd name="connsiteY67" fmla="*/ 172403 h 2893743"/>
              <a:gd name="connsiteX68" fmla="*/ 4286441 w 7439501"/>
              <a:gd name="connsiteY68" fmla="*/ 193167 h 2893743"/>
              <a:gd name="connsiteX69" fmla="*/ 4186904 w 7439501"/>
              <a:gd name="connsiteY69" fmla="*/ 238316 h 2893743"/>
              <a:gd name="connsiteX70" fmla="*/ 4138422 w 7439501"/>
              <a:gd name="connsiteY70" fmla="*/ 263462 h 2893743"/>
              <a:gd name="connsiteX71" fmla="*/ 4090416 w 7439501"/>
              <a:gd name="connsiteY71" fmla="*/ 289560 h 2893743"/>
              <a:gd name="connsiteX72" fmla="*/ 3997071 w 7439501"/>
              <a:gd name="connsiteY72" fmla="*/ 346329 h 2893743"/>
              <a:gd name="connsiteX73" fmla="*/ 3951351 w 7439501"/>
              <a:gd name="connsiteY73" fmla="*/ 376238 h 2893743"/>
              <a:gd name="connsiteX74" fmla="*/ 3907060 w 7439501"/>
              <a:gd name="connsiteY74" fmla="*/ 408146 h 2893743"/>
              <a:gd name="connsiteX75" fmla="*/ 3820573 w 7439501"/>
              <a:gd name="connsiteY75" fmla="*/ 474917 h 2893743"/>
              <a:gd name="connsiteX76" fmla="*/ 3514439 w 7439501"/>
              <a:gd name="connsiteY76" fmla="*/ 785336 h 2893743"/>
              <a:gd name="connsiteX77" fmla="*/ 3514439 w 7439501"/>
              <a:gd name="connsiteY77" fmla="*/ 785527 h 2893743"/>
              <a:gd name="connsiteX78" fmla="*/ 3399377 w 7439501"/>
              <a:gd name="connsiteY78" fmla="*/ 944690 h 2893743"/>
              <a:gd name="connsiteX79" fmla="*/ 3295460 w 7439501"/>
              <a:gd name="connsiteY79" fmla="*/ 1110329 h 2893743"/>
              <a:gd name="connsiteX80" fmla="*/ 3196685 w 7439501"/>
              <a:gd name="connsiteY80" fmla="*/ 1278446 h 2893743"/>
              <a:gd name="connsiteX81" fmla="*/ 3098578 w 7439501"/>
              <a:gd name="connsiteY81" fmla="*/ 1446467 h 2893743"/>
              <a:gd name="connsiteX82" fmla="*/ 2997803 w 7439501"/>
              <a:gd name="connsiteY82" fmla="*/ 1612487 h 2893743"/>
              <a:gd name="connsiteX83" fmla="*/ 2891600 w 7439501"/>
              <a:gd name="connsiteY83" fmla="*/ 1774698 h 2893743"/>
              <a:gd name="connsiteX84" fmla="*/ 2654999 w 7439501"/>
              <a:gd name="connsiteY84" fmla="*/ 2080736 h 2893743"/>
              <a:gd name="connsiteX85" fmla="*/ 2521839 w 7439501"/>
              <a:gd name="connsiteY85" fmla="*/ 2220659 h 2893743"/>
              <a:gd name="connsiteX86" fmla="*/ 2377631 w 7439501"/>
              <a:gd name="connsiteY86" fmla="*/ 2348960 h 2893743"/>
              <a:gd name="connsiteX87" fmla="*/ 2222754 w 7439501"/>
              <a:gd name="connsiteY87" fmla="*/ 2463927 h 2893743"/>
              <a:gd name="connsiteX88" fmla="*/ 2057876 w 7439501"/>
              <a:gd name="connsiteY88" fmla="*/ 2564035 h 2893743"/>
              <a:gd name="connsiteX89" fmla="*/ 1329404 w 7439501"/>
              <a:gd name="connsiteY89" fmla="*/ 2810542 h 2893743"/>
              <a:gd name="connsiteX90" fmla="*/ 685800 w 7439501"/>
              <a:gd name="connsiteY90" fmla="*/ 2854833 h 2893743"/>
              <a:gd name="connsiteX91" fmla="*/ 643128 w 7439501"/>
              <a:gd name="connsiteY91" fmla="*/ 2853404 h 2893743"/>
              <a:gd name="connsiteX92" fmla="*/ 589788 w 7439501"/>
              <a:gd name="connsiteY92" fmla="*/ 2851690 h 2893743"/>
              <a:gd name="connsiteX93" fmla="*/ 515207 w 7439501"/>
              <a:gd name="connsiteY93" fmla="*/ 2847689 h 2893743"/>
              <a:gd name="connsiteX94" fmla="*/ 5715 w 7439501"/>
              <a:gd name="connsiteY94" fmla="*/ 2791873 h 2893743"/>
              <a:gd name="connsiteX95" fmla="*/ 4286 w 7439501"/>
              <a:gd name="connsiteY95" fmla="*/ 2801302 h 2893743"/>
              <a:gd name="connsiteX96" fmla="*/ 2858 w 7439501"/>
              <a:gd name="connsiteY96" fmla="*/ 2810732 h 2893743"/>
              <a:gd name="connsiteX97" fmla="*/ 1429 w 7439501"/>
              <a:gd name="connsiteY97" fmla="*/ 2820162 h 2893743"/>
              <a:gd name="connsiteX98" fmla="*/ 0 w 7439501"/>
              <a:gd name="connsiteY98" fmla="*/ 2829592 h 2893743"/>
              <a:gd name="connsiteX99" fmla="*/ 513112 w 7439501"/>
              <a:gd name="connsiteY99" fmla="*/ 2885789 h 2893743"/>
              <a:gd name="connsiteX100" fmla="*/ 588359 w 7439501"/>
              <a:gd name="connsiteY100" fmla="*/ 2889885 h 2893743"/>
              <a:gd name="connsiteX101" fmla="*/ 642176 w 7439501"/>
              <a:gd name="connsiteY101" fmla="*/ 2891695 h 2893743"/>
              <a:gd name="connsiteX102" fmla="*/ 685229 w 7439501"/>
              <a:gd name="connsiteY102" fmla="*/ 2893124 h 2893743"/>
              <a:gd name="connsiteX103" fmla="*/ 1336072 w 7439501"/>
              <a:gd name="connsiteY103" fmla="*/ 2848356 h 2893743"/>
              <a:gd name="connsiteX104" fmla="*/ 2076355 w 7439501"/>
              <a:gd name="connsiteY104" fmla="*/ 2597753 h 2893743"/>
              <a:gd name="connsiteX105" fmla="*/ 2244185 w 7439501"/>
              <a:gd name="connsiteY105" fmla="*/ 2495836 h 2893743"/>
              <a:gd name="connsiteX106" fmla="*/ 2401919 w 7439501"/>
              <a:gd name="connsiteY106" fmla="*/ 2378869 h 2893743"/>
              <a:gd name="connsiteX107" fmla="*/ 2548604 w 7439501"/>
              <a:gd name="connsiteY107" fmla="*/ 2248376 h 2893743"/>
              <a:gd name="connsiteX108" fmla="*/ 2683859 w 7439501"/>
              <a:gd name="connsiteY108" fmla="*/ 2106359 h 2893743"/>
              <a:gd name="connsiteX109" fmla="*/ 2923318 w 7439501"/>
              <a:gd name="connsiteY109" fmla="*/ 1796606 h 2893743"/>
              <a:gd name="connsiteX110" fmla="*/ 3030379 w 7439501"/>
              <a:gd name="connsiteY110" fmla="*/ 1633061 h 2893743"/>
              <a:gd name="connsiteX111" fmla="*/ 3131630 w 7439501"/>
              <a:gd name="connsiteY111" fmla="*/ 1466183 h 2893743"/>
              <a:gd name="connsiteX112" fmla="*/ 3229928 w 7439501"/>
              <a:gd name="connsiteY112" fmla="*/ 1297972 h 2893743"/>
              <a:gd name="connsiteX113" fmla="*/ 3328416 w 7439501"/>
              <a:gd name="connsiteY113" fmla="*/ 1130332 h 2893743"/>
              <a:gd name="connsiteX114" fmla="*/ 3431381 w 7439501"/>
              <a:gd name="connsiteY114" fmla="*/ 966121 h 2893743"/>
              <a:gd name="connsiteX115" fmla="*/ 3544348 w 7439501"/>
              <a:gd name="connsiteY115" fmla="*/ 809720 h 2893743"/>
              <a:gd name="connsiteX116" fmla="*/ 3544348 w 7439501"/>
              <a:gd name="connsiteY116" fmla="*/ 809530 h 2893743"/>
              <a:gd name="connsiteX117" fmla="*/ 3844957 w 7439501"/>
              <a:gd name="connsiteY117" fmla="*/ 504730 h 2893743"/>
              <a:gd name="connsiteX118" fmla="*/ 3929729 w 7439501"/>
              <a:gd name="connsiteY118" fmla="*/ 439293 h 2893743"/>
              <a:gd name="connsiteX119" fmla="*/ 3973164 w 7439501"/>
              <a:gd name="connsiteY119" fmla="*/ 407956 h 2893743"/>
              <a:gd name="connsiteX120" fmla="*/ 4017931 w 7439501"/>
              <a:gd name="connsiteY120" fmla="*/ 378619 h 2893743"/>
              <a:gd name="connsiteX121" fmla="*/ 4109466 w 7439501"/>
              <a:gd name="connsiteY121" fmla="*/ 322993 h 2893743"/>
              <a:gd name="connsiteX122" fmla="*/ 4156520 w 7439501"/>
              <a:gd name="connsiteY122" fmla="*/ 297371 h 2893743"/>
              <a:gd name="connsiteX123" fmla="*/ 4204050 w 7439501"/>
              <a:gd name="connsiteY123" fmla="*/ 272701 h 2893743"/>
              <a:gd name="connsiteX124" fmla="*/ 4301585 w 7439501"/>
              <a:gd name="connsiteY124" fmla="*/ 228409 h 2893743"/>
              <a:gd name="connsiteX125" fmla="*/ 4351116 w 7439501"/>
              <a:gd name="connsiteY125" fmla="*/ 208026 h 2893743"/>
              <a:gd name="connsiteX126" fmla="*/ 4401312 w 7439501"/>
              <a:gd name="connsiteY126" fmla="*/ 189452 h 2893743"/>
              <a:gd name="connsiteX127" fmla="*/ 4451985 w 7439501"/>
              <a:gd name="connsiteY127" fmla="*/ 172307 h 2893743"/>
              <a:gd name="connsiteX128" fmla="*/ 4503134 w 7439501"/>
              <a:gd name="connsiteY128" fmla="*/ 156305 h 2893743"/>
              <a:gd name="connsiteX129" fmla="*/ 4554665 w 7439501"/>
              <a:gd name="connsiteY129" fmla="*/ 141732 h 2893743"/>
              <a:gd name="connsiteX130" fmla="*/ 4606671 w 7439501"/>
              <a:gd name="connsiteY130" fmla="*/ 128969 h 2893743"/>
              <a:gd name="connsiteX131" fmla="*/ 4658964 w 7439501"/>
              <a:gd name="connsiteY131" fmla="*/ 117539 h 2893743"/>
              <a:gd name="connsiteX132" fmla="*/ 4711542 w 7439501"/>
              <a:gd name="connsiteY132" fmla="*/ 107442 h 2893743"/>
              <a:gd name="connsiteX133" fmla="*/ 4817459 w 7439501"/>
              <a:gd name="connsiteY133" fmla="*/ 91440 h 2893743"/>
              <a:gd name="connsiteX134" fmla="*/ 4870704 w 7439501"/>
              <a:gd name="connsiteY134" fmla="*/ 85725 h 2893743"/>
              <a:gd name="connsiteX135" fmla="*/ 4924140 w 7439501"/>
              <a:gd name="connsiteY135" fmla="*/ 81439 h 2893743"/>
              <a:gd name="connsiteX136" fmla="*/ 4977670 w 7439501"/>
              <a:gd name="connsiteY136" fmla="*/ 78581 h 2893743"/>
              <a:gd name="connsiteX137" fmla="*/ 5031201 w 7439501"/>
              <a:gd name="connsiteY137" fmla="*/ 77153 h 2893743"/>
              <a:gd name="connsiteX138" fmla="*/ 5095875 w 7439501"/>
              <a:gd name="connsiteY138" fmla="*/ 77724 h 2893743"/>
              <a:gd name="connsiteX139" fmla="*/ 5128165 w 7439501"/>
              <a:gd name="connsiteY139" fmla="*/ 78772 h 2893743"/>
              <a:gd name="connsiteX140" fmla="*/ 5160455 w 7439501"/>
              <a:gd name="connsiteY140" fmla="*/ 80391 h 2893743"/>
              <a:gd name="connsiteX141" fmla="*/ 5192649 w 7439501"/>
              <a:gd name="connsiteY141" fmla="*/ 82677 h 2893743"/>
              <a:gd name="connsiteX142" fmla="*/ 5224749 w 7439501"/>
              <a:gd name="connsiteY142" fmla="*/ 85725 h 2893743"/>
              <a:gd name="connsiteX143" fmla="*/ 5256657 w 7439501"/>
              <a:gd name="connsiteY143" fmla="*/ 89535 h 2893743"/>
              <a:gd name="connsiteX144" fmla="*/ 5272469 w 7439501"/>
              <a:gd name="connsiteY144" fmla="*/ 91726 h 2893743"/>
              <a:gd name="connsiteX145" fmla="*/ 5277612 w 7439501"/>
              <a:gd name="connsiteY145" fmla="*/ 92488 h 2893743"/>
              <a:gd name="connsiteX146" fmla="*/ 5277612 w 7439501"/>
              <a:gd name="connsiteY146" fmla="*/ 92488 h 2893743"/>
              <a:gd name="connsiteX147" fmla="*/ 5281327 w 7439501"/>
              <a:gd name="connsiteY147" fmla="*/ 102394 h 2893743"/>
              <a:gd name="connsiteX148" fmla="*/ 5289804 w 7439501"/>
              <a:gd name="connsiteY148" fmla="*/ 122587 h 2893743"/>
              <a:gd name="connsiteX149" fmla="*/ 5350859 w 7439501"/>
              <a:gd name="connsiteY149" fmla="*/ 234601 h 2893743"/>
              <a:gd name="connsiteX150" fmla="*/ 5428107 w 7439501"/>
              <a:gd name="connsiteY150" fmla="*/ 335661 h 2893743"/>
              <a:gd name="connsiteX151" fmla="*/ 5622893 w 7439501"/>
              <a:gd name="connsiteY151" fmla="*/ 498539 h 2893743"/>
              <a:gd name="connsiteX152" fmla="*/ 5857590 w 7439501"/>
              <a:gd name="connsiteY152" fmla="*/ 595217 h 2893743"/>
              <a:gd name="connsiteX153" fmla="*/ 5888546 w 7439501"/>
              <a:gd name="connsiteY153" fmla="*/ 602742 h 2893743"/>
              <a:gd name="connsiteX154" fmla="*/ 5919883 w 7439501"/>
              <a:gd name="connsiteY154" fmla="*/ 608171 h 2893743"/>
              <a:gd name="connsiteX155" fmla="*/ 5951221 w 7439501"/>
              <a:gd name="connsiteY155" fmla="*/ 613505 h 2893743"/>
              <a:gd name="connsiteX156" fmla="*/ 5982843 w 7439501"/>
              <a:gd name="connsiteY156" fmla="*/ 616744 h 2893743"/>
              <a:gd name="connsiteX157" fmla="*/ 6014466 w 7439501"/>
              <a:gd name="connsiteY157" fmla="*/ 619697 h 2893743"/>
              <a:gd name="connsiteX158" fmla="*/ 6030278 w 7439501"/>
              <a:gd name="connsiteY158" fmla="*/ 621125 h 2893743"/>
              <a:gd name="connsiteX159" fmla="*/ 6046089 w 7439501"/>
              <a:gd name="connsiteY159" fmla="*/ 621411 h 2893743"/>
              <a:gd name="connsiteX160" fmla="*/ 6109526 w 7439501"/>
              <a:gd name="connsiteY160" fmla="*/ 622459 h 2893743"/>
              <a:gd name="connsiteX161" fmla="*/ 6236113 w 7439501"/>
              <a:gd name="connsiteY161" fmla="*/ 612362 h 2893743"/>
              <a:gd name="connsiteX162" fmla="*/ 6267545 w 7439501"/>
              <a:gd name="connsiteY162" fmla="*/ 608362 h 2893743"/>
              <a:gd name="connsiteX163" fmla="*/ 6283262 w 7439501"/>
              <a:gd name="connsiteY163" fmla="*/ 606266 h 2893743"/>
              <a:gd name="connsiteX164" fmla="*/ 6298788 w 7439501"/>
              <a:gd name="connsiteY164" fmla="*/ 603218 h 2893743"/>
              <a:gd name="connsiteX165" fmla="*/ 6360986 w 7439501"/>
              <a:gd name="connsiteY165" fmla="*/ 591026 h 2893743"/>
              <a:gd name="connsiteX166" fmla="*/ 6376511 w 7439501"/>
              <a:gd name="connsiteY166" fmla="*/ 587883 h 2893743"/>
              <a:gd name="connsiteX167" fmla="*/ 6391847 w 7439501"/>
              <a:gd name="connsiteY167" fmla="*/ 583883 h 2893743"/>
              <a:gd name="connsiteX168" fmla="*/ 6422422 w 7439501"/>
              <a:gd name="connsiteY168" fmla="*/ 575882 h 2893743"/>
              <a:gd name="connsiteX169" fmla="*/ 6452997 w 7439501"/>
              <a:gd name="connsiteY169" fmla="*/ 567785 h 2893743"/>
              <a:gd name="connsiteX170" fmla="*/ 6483382 w 7439501"/>
              <a:gd name="connsiteY170" fmla="*/ 559118 h 2893743"/>
              <a:gd name="connsiteX171" fmla="*/ 6543390 w 7439501"/>
              <a:gd name="connsiteY171" fmla="*/ 539401 h 2893743"/>
              <a:gd name="connsiteX172" fmla="*/ 6573393 w 7439501"/>
              <a:gd name="connsiteY172" fmla="*/ 529590 h 2893743"/>
              <a:gd name="connsiteX173" fmla="*/ 6602826 w 7439501"/>
              <a:gd name="connsiteY173" fmla="*/ 518255 h 2893743"/>
              <a:gd name="connsiteX174" fmla="*/ 6719507 w 7439501"/>
              <a:gd name="connsiteY174" fmla="*/ 470440 h 2893743"/>
              <a:gd name="connsiteX175" fmla="*/ 6776943 w 7439501"/>
              <a:gd name="connsiteY175" fmla="*/ 444437 h 2893743"/>
              <a:gd name="connsiteX176" fmla="*/ 6833426 w 7439501"/>
              <a:gd name="connsiteY176" fmla="*/ 416719 h 2893743"/>
              <a:gd name="connsiteX177" fmla="*/ 6889433 w 7439501"/>
              <a:gd name="connsiteY177" fmla="*/ 388049 h 2893743"/>
              <a:gd name="connsiteX178" fmla="*/ 6917341 w 7439501"/>
              <a:gd name="connsiteY178" fmla="*/ 373571 h 2893743"/>
              <a:gd name="connsiteX179" fmla="*/ 6944678 w 7439501"/>
              <a:gd name="connsiteY179" fmla="*/ 358045 h 2893743"/>
              <a:gd name="connsiteX180" fmla="*/ 6999256 w 7439501"/>
              <a:gd name="connsiteY180" fmla="*/ 326898 h 2893743"/>
              <a:gd name="connsiteX181" fmla="*/ 7053453 w 7439501"/>
              <a:gd name="connsiteY181" fmla="*/ 295085 h 2893743"/>
              <a:gd name="connsiteX182" fmla="*/ 7152704 w 7439501"/>
              <a:gd name="connsiteY182" fmla="*/ 232886 h 2893743"/>
              <a:gd name="connsiteX183" fmla="*/ 7207472 w 7439501"/>
              <a:gd name="connsiteY183" fmla="*/ 196310 h 2893743"/>
              <a:gd name="connsiteX184" fmla="*/ 7273957 w 7439501"/>
              <a:gd name="connsiteY184" fmla="*/ 150971 h 2893743"/>
              <a:gd name="connsiteX185" fmla="*/ 7351205 w 7439501"/>
              <a:gd name="connsiteY185" fmla="*/ 95631 h 2893743"/>
              <a:gd name="connsiteX186" fmla="*/ 7439502 w 7439501"/>
              <a:gd name="connsiteY186" fmla="*/ 30671 h 2893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7439501" h="2893743">
                <a:moveTo>
                  <a:pt x="7439120" y="30480"/>
                </a:moveTo>
                <a:lnTo>
                  <a:pt x="7433310" y="22860"/>
                </a:lnTo>
                <a:lnTo>
                  <a:pt x="7427500" y="15240"/>
                </a:lnTo>
                <a:lnTo>
                  <a:pt x="7421689" y="7620"/>
                </a:lnTo>
                <a:lnTo>
                  <a:pt x="7415879" y="0"/>
                </a:lnTo>
                <a:cubicBezTo>
                  <a:pt x="7384733" y="22955"/>
                  <a:pt x="7355491" y="44387"/>
                  <a:pt x="7328249" y="64484"/>
                </a:cubicBezTo>
                <a:cubicBezTo>
                  <a:pt x="7300913" y="84487"/>
                  <a:pt x="7275862" y="103537"/>
                  <a:pt x="7251668" y="119444"/>
                </a:cubicBezTo>
                <a:cubicBezTo>
                  <a:pt x="7227665" y="135731"/>
                  <a:pt x="7205758" y="150781"/>
                  <a:pt x="7185756" y="164402"/>
                </a:cubicBezTo>
                <a:cubicBezTo>
                  <a:pt x="7165658" y="177832"/>
                  <a:pt x="7148132" y="190691"/>
                  <a:pt x="7131558" y="200692"/>
                </a:cubicBezTo>
                <a:cubicBezTo>
                  <a:pt x="7066122" y="241745"/>
                  <a:pt x="7033356" y="262223"/>
                  <a:pt x="7033356" y="262223"/>
                </a:cubicBezTo>
                <a:cubicBezTo>
                  <a:pt x="7016020" y="273558"/>
                  <a:pt x="6997637" y="283274"/>
                  <a:pt x="6979730" y="293656"/>
                </a:cubicBezTo>
                <a:cubicBezTo>
                  <a:pt x="6961727" y="303943"/>
                  <a:pt x="6943725" y="314135"/>
                  <a:pt x="6925723" y="324422"/>
                </a:cubicBezTo>
                <a:lnTo>
                  <a:pt x="6898767" y="339852"/>
                </a:lnTo>
                <a:cubicBezTo>
                  <a:pt x="6889718" y="344805"/>
                  <a:pt x="6880384" y="349377"/>
                  <a:pt x="6871240" y="354140"/>
                </a:cubicBezTo>
                <a:cubicBezTo>
                  <a:pt x="6852857" y="363569"/>
                  <a:pt x="6834378" y="372999"/>
                  <a:pt x="6815995" y="382429"/>
                </a:cubicBezTo>
                <a:cubicBezTo>
                  <a:pt x="6797517" y="391763"/>
                  <a:pt x="6779324" y="401669"/>
                  <a:pt x="6760274" y="409766"/>
                </a:cubicBezTo>
                <a:lnTo>
                  <a:pt x="6703790" y="435293"/>
                </a:lnTo>
                <a:cubicBezTo>
                  <a:pt x="6666452" y="453295"/>
                  <a:pt x="6627496" y="466916"/>
                  <a:pt x="6589109" y="482346"/>
                </a:cubicBezTo>
                <a:cubicBezTo>
                  <a:pt x="6579489" y="486061"/>
                  <a:pt x="6569964" y="490061"/>
                  <a:pt x="6560249" y="493490"/>
                </a:cubicBezTo>
                <a:lnTo>
                  <a:pt x="6530817" y="503111"/>
                </a:lnTo>
                <a:lnTo>
                  <a:pt x="6472047" y="522446"/>
                </a:lnTo>
                <a:cubicBezTo>
                  <a:pt x="6462332" y="525971"/>
                  <a:pt x="6452235" y="528257"/>
                  <a:pt x="6442329" y="530924"/>
                </a:cubicBezTo>
                <a:lnTo>
                  <a:pt x="6412421" y="538829"/>
                </a:lnTo>
                <a:lnTo>
                  <a:pt x="6382512" y="546735"/>
                </a:lnTo>
                <a:lnTo>
                  <a:pt x="6367558" y="550640"/>
                </a:lnTo>
                <a:cubicBezTo>
                  <a:pt x="6362510" y="551783"/>
                  <a:pt x="6357461" y="552641"/>
                  <a:pt x="6352413" y="553688"/>
                </a:cubicBezTo>
                <a:lnTo>
                  <a:pt x="6291929" y="565595"/>
                </a:lnTo>
                <a:lnTo>
                  <a:pt x="6276785" y="568547"/>
                </a:lnTo>
                <a:cubicBezTo>
                  <a:pt x="6271736" y="569309"/>
                  <a:pt x="6266593" y="569881"/>
                  <a:pt x="6261545" y="570548"/>
                </a:cubicBezTo>
                <a:lnTo>
                  <a:pt x="6230970" y="574453"/>
                </a:lnTo>
                <a:cubicBezTo>
                  <a:pt x="6190298" y="580930"/>
                  <a:pt x="6149340" y="581692"/>
                  <a:pt x="6108383" y="584264"/>
                </a:cubicBezTo>
                <a:lnTo>
                  <a:pt x="6047232" y="583216"/>
                </a:lnTo>
                <a:lnTo>
                  <a:pt x="6031992" y="582930"/>
                </a:lnTo>
                <a:lnTo>
                  <a:pt x="6016752" y="581501"/>
                </a:lnTo>
                <a:lnTo>
                  <a:pt x="5986368" y="578644"/>
                </a:lnTo>
                <a:cubicBezTo>
                  <a:pt x="5976271" y="577596"/>
                  <a:pt x="5966079" y="577025"/>
                  <a:pt x="5955983" y="575501"/>
                </a:cubicBezTo>
                <a:lnTo>
                  <a:pt x="5925979" y="570357"/>
                </a:lnTo>
                <a:lnTo>
                  <a:pt x="5895975" y="565214"/>
                </a:lnTo>
                <a:cubicBezTo>
                  <a:pt x="5885974" y="563309"/>
                  <a:pt x="5876258" y="560356"/>
                  <a:pt x="5866352" y="557975"/>
                </a:cubicBezTo>
                <a:cubicBezTo>
                  <a:pt x="5787486" y="538829"/>
                  <a:pt x="5711571" y="507778"/>
                  <a:pt x="5642324" y="465773"/>
                </a:cubicBezTo>
                <a:cubicBezTo>
                  <a:pt x="5573078" y="423672"/>
                  <a:pt x="5510022" y="371285"/>
                  <a:pt x="5456397" y="310229"/>
                </a:cubicBezTo>
                <a:cubicBezTo>
                  <a:pt x="5429536" y="279749"/>
                  <a:pt x="5404961" y="247364"/>
                  <a:pt x="5382483" y="213551"/>
                </a:cubicBezTo>
                <a:cubicBezTo>
                  <a:pt x="5360575" y="179451"/>
                  <a:pt x="5340668" y="143923"/>
                  <a:pt x="5324475" y="107061"/>
                </a:cubicBezTo>
                <a:cubicBezTo>
                  <a:pt x="5321808" y="100775"/>
                  <a:pt x="5318760" y="94583"/>
                  <a:pt x="5316474" y="88202"/>
                </a:cubicBezTo>
                <a:lnTo>
                  <a:pt x="5305235" y="58484"/>
                </a:lnTo>
                <a:cubicBezTo>
                  <a:pt x="5305235" y="58484"/>
                  <a:pt x="5305044" y="58484"/>
                  <a:pt x="5304854" y="58388"/>
                </a:cubicBezTo>
                <a:lnTo>
                  <a:pt x="5289233" y="55626"/>
                </a:lnTo>
                <a:lnTo>
                  <a:pt x="5281994" y="54388"/>
                </a:lnTo>
                <a:lnTo>
                  <a:pt x="5277898" y="53816"/>
                </a:lnTo>
                <a:lnTo>
                  <a:pt x="5261420" y="51530"/>
                </a:lnTo>
                <a:cubicBezTo>
                  <a:pt x="5250466" y="50006"/>
                  <a:pt x="5239417" y="48863"/>
                  <a:pt x="5228463" y="47625"/>
                </a:cubicBezTo>
                <a:cubicBezTo>
                  <a:pt x="5217509" y="46387"/>
                  <a:pt x="5206461" y="45530"/>
                  <a:pt x="5195507" y="44577"/>
                </a:cubicBezTo>
                <a:lnTo>
                  <a:pt x="5162550" y="42196"/>
                </a:lnTo>
                <a:lnTo>
                  <a:pt x="5129594" y="40576"/>
                </a:lnTo>
                <a:cubicBezTo>
                  <a:pt x="5118640" y="39910"/>
                  <a:pt x="5107591" y="39910"/>
                  <a:pt x="5096542" y="39529"/>
                </a:cubicBezTo>
                <a:cubicBezTo>
                  <a:pt x="5074539" y="38767"/>
                  <a:pt x="5052536" y="39148"/>
                  <a:pt x="5030534" y="38957"/>
                </a:cubicBezTo>
                <a:lnTo>
                  <a:pt x="4975956" y="40386"/>
                </a:lnTo>
                <a:cubicBezTo>
                  <a:pt x="4957763" y="41339"/>
                  <a:pt x="4939570" y="42101"/>
                  <a:pt x="4921377" y="43244"/>
                </a:cubicBezTo>
                <a:lnTo>
                  <a:pt x="4866894" y="47625"/>
                </a:lnTo>
                <a:lnTo>
                  <a:pt x="4812602" y="53435"/>
                </a:lnTo>
                <a:cubicBezTo>
                  <a:pt x="4776502" y="58198"/>
                  <a:pt x="4740402" y="63151"/>
                  <a:pt x="4704588" y="69723"/>
                </a:cubicBezTo>
                <a:cubicBezTo>
                  <a:pt x="4686586" y="72581"/>
                  <a:pt x="4668774" y="76295"/>
                  <a:pt x="4650962" y="80010"/>
                </a:cubicBezTo>
                <a:cubicBezTo>
                  <a:pt x="4633151" y="83725"/>
                  <a:pt x="4615244" y="87154"/>
                  <a:pt x="4597623" y="91726"/>
                </a:cubicBezTo>
                <a:lnTo>
                  <a:pt x="4544568" y="104775"/>
                </a:lnTo>
                <a:lnTo>
                  <a:pt x="4491990" y="119634"/>
                </a:lnTo>
                <a:cubicBezTo>
                  <a:pt x="4474369" y="124301"/>
                  <a:pt x="4457224" y="130397"/>
                  <a:pt x="4439889" y="135922"/>
                </a:cubicBezTo>
                <a:cubicBezTo>
                  <a:pt x="4422648" y="141732"/>
                  <a:pt x="4405122" y="146780"/>
                  <a:pt x="4388168" y="153448"/>
                </a:cubicBezTo>
                <a:cubicBezTo>
                  <a:pt x="4371118" y="159734"/>
                  <a:pt x="4353973" y="166116"/>
                  <a:pt x="4336923" y="172403"/>
                </a:cubicBezTo>
                <a:cubicBezTo>
                  <a:pt x="4319874" y="178880"/>
                  <a:pt x="4303300" y="186309"/>
                  <a:pt x="4286441" y="193167"/>
                </a:cubicBezTo>
                <a:cubicBezTo>
                  <a:pt x="4252532" y="206597"/>
                  <a:pt x="4220051" y="223171"/>
                  <a:pt x="4186904" y="238316"/>
                </a:cubicBezTo>
                <a:cubicBezTo>
                  <a:pt x="4170522" y="246221"/>
                  <a:pt x="4154615" y="255080"/>
                  <a:pt x="4138422" y="263462"/>
                </a:cubicBezTo>
                <a:cubicBezTo>
                  <a:pt x="4122325" y="272034"/>
                  <a:pt x="4105942" y="280035"/>
                  <a:pt x="4090416" y="289560"/>
                </a:cubicBezTo>
                <a:cubicBezTo>
                  <a:pt x="4058984" y="308039"/>
                  <a:pt x="4027170" y="325850"/>
                  <a:pt x="3997071" y="346329"/>
                </a:cubicBezTo>
                <a:cubicBezTo>
                  <a:pt x="3981831" y="356330"/>
                  <a:pt x="3966401" y="366046"/>
                  <a:pt x="3951351" y="376238"/>
                </a:cubicBezTo>
                <a:cubicBezTo>
                  <a:pt x="3936587" y="386906"/>
                  <a:pt x="3921824" y="397478"/>
                  <a:pt x="3907060" y="408146"/>
                </a:cubicBezTo>
                <a:cubicBezTo>
                  <a:pt x="3877056" y="428816"/>
                  <a:pt x="3849243" y="452438"/>
                  <a:pt x="3820573" y="474917"/>
                </a:cubicBezTo>
                <a:cubicBezTo>
                  <a:pt x="3707702" y="567023"/>
                  <a:pt x="3605308" y="671703"/>
                  <a:pt x="3514439" y="785336"/>
                </a:cubicBezTo>
                <a:lnTo>
                  <a:pt x="3514439" y="785527"/>
                </a:lnTo>
                <a:cubicBezTo>
                  <a:pt x="3473291" y="836866"/>
                  <a:pt x="3435477" y="890302"/>
                  <a:pt x="3399377" y="944690"/>
                </a:cubicBezTo>
                <a:cubicBezTo>
                  <a:pt x="3363278" y="999173"/>
                  <a:pt x="3328988" y="1054608"/>
                  <a:pt x="3295460" y="1110329"/>
                </a:cubicBezTo>
                <a:cubicBezTo>
                  <a:pt x="3261932" y="1166146"/>
                  <a:pt x="3229261" y="1222248"/>
                  <a:pt x="3196685" y="1278446"/>
                </a:cubicBezTo>
                <a:cubicBezTo>
                  <a:pt x="3164015" y="1334453"/>
                  <a:pt x="3131249" y="1390460"/>
                  <a:pt x="3098578" y="1446467"/>
                </a:cubicBezTo>
                <a:cubicBezTo>
                  <a:pt x="3065526" y="1502188"/>
                  <a:pt x="3032189" y="1557719"/>
                  <a:pt x="2997803" y="1612487"/>
                </a:cubicBezTo>
                <a:cubicBezTo>
                  <a:pt x="2963418" y="1667256"/>
                  <a:pt x="2928080" y="1721453"/>
                  <a:pt x="2891600" y="1774698"/>
                </a:cubicBezTo>
                <a:cubicBezTo>
                  <a:pt x="2818733" y="1881378"/>
                  <a:pt x="2740247" y="1984058"/>
                  <a:pt x="2654999" y="2080736"/>
                </a:cubicBezTo>
                <a:cubicBezTo>
                  <a:pt x="2612231" y="2128933"/>
                  <a:pt x="2567845" y="2175701"/>
                  <a:pt x="2521839" y="2220659"/>
                </a:cubicBezTo>
                <a:cubicBezTo>
                  <a:pt x="2475452" y="2265331"/>
                  <a:pt x="2427351" y="2308098"/>
                  <a:pt x="2377631" y="2348960"/>
                </a:cubicBezTo>
                <a:cubicBezTo>
                  <a:pt x="2327720" y="2389537"/>
                  <a:pt x="2275808" y="2427637"/>
                  <a:pt x="2222754" y="2463927"/>
                </a:cubicBezTo>
                <a:cubicBezTo>
                  <a:pt x="2169224" y="2499646"/>
                  <a:pt x="2114264" y="2532983"/>
                  <a:pt x="2057876" y="2564035"/>
                </a:cubicBezTo>
                <a:cubicBezTo>
                  <a:pt x="1831848" y="2687288"/>
                  <a:pt x="1583436" y="2767108"/>
                  <a:pt x="1329404" y="2810542"/>
                </a:cubicBezTo>
                <a:cubicBezTo>
                  <a:pt x="1117283" y="2847308"/>
                  <a:pt x="901160" y="2858357"/>
                  <a:pt x="685800" y="2854833"/>
                </a:cubicBezTo>
                <a:lnTo>
                  <a:pt x="643128" y="2853404"/>
                </a:lnTo>
                <a:lnTo>
                  <a:pt x="589788" y="2851690"/>
                </a:lnTo>
                <a:cubicBezTo>
                  <a:pt x="568452" y="2850928"/>
                  <a:pt x="543592" y="2849213"/>
                  <a:pt x="515207" y="2847689"/>
                </a:cubicBezTo>
                <a:cubicBezTo>
                  <a:pt x="401574" y="2840927"/>
                  <a:pt x="231077" y="2826544"/>
                  <a:pt x="5715" y="2791873"/>
                </a:cubicBezTo>
                <a:lnTo>
                  <a:pt x="4286" y="2801302"/>
                </a:lnTo>
                <a:lnTo>
                  <a:pt x="2858" y="2810732"/>
                </a:lnTo>
                <a:lnTo>
                  <a:pt x="1429" y="2820162"/>
                </a:lnTo>
                <a:lnTo>
                  <a:pt x="0" y="2829592"/>
                </a:lnTo>
                <a:cubicBezTo>
                  <a:pt x="226790" y="2864549"/>
                  <a:pt x="398621" y="2879027"/>
                  <a:pt x="513112" y="2885789"/>
                </a:cubicBezTo>
                <a:cubicBezTo>
                  <a:pt x="541782" y="2887313"/>
                  <a:pt x="566833" y="2889123"/>
                  <a:pt x="588359" y="2889885"/>
                </a:cubicBezTo>
                <a:lnTo>
                  <a:pt x="642176" y="2891695"/>
                </a:lnTo>
                <a:lnTo>
                  <a:pt x="685229" y="2893124"/>
                </a:lnTo>
                <a:cubicBezTo>
                  <a:pt x="902684" y="2896648"/>
                  <a:pt x="1121093" y="2885599"/>
                  <a:pt x="1336072" y="2848356"/>
                </a:cubicBezTo>
                <a:cubicBezTo>
                  <a:pt x="1593533" y="2804446"/>
                  <a:pt x="1846136" y="2723293"/>
                  <a:pt x="2076355" y="2597753"/>
                </a:cubicBezTo>
                <a:cubicBezTo>
                  <a:pt x="2133695" y="2566131"/>
                  <a:pt x="2189798" y="2532126"/>
                  <a:pt x="2244185" y="2495836"/>
                </a:cubicBezTo>
                <a:cubicBezTo>
                  <a:pt x="2298287" y="2458974"/>
                  <a:pt x="2351056" y="2420112"/>
                  <a:pt x="2401919" y="2378869"/>
                </a:cubicBezTo>
                <a:cubicBezTo>
                  <a:pt x="2452497" y="2337340"/>
                  <a:pt x="2501456" y="2293811"/>
                  <a:pt x="2548604" y="2248376"/>
                </a:cubicBezTo>
                <a:cubicBezTo>
                  <a:pt x="2595467" y="2202656"/>
                  <a:pt x="2640521" y="2155222"/>
                  <a:pt x="2683859" y="2106359"/>
                </a:cubicBezTo>
                <a:cubicBezTo>
                  <a:pt x="2770251" y="2008251"/>
                  <a:pt x="2849690" y="1904238"/>
                  <a:pt x="2923318" y="1796606"/>
                </a:cubicBezTo>
                <a:cubicBezTo>
                  <a:pt x="2960180" y="1742789"/>
                  <a:pt x="2995803" y="1688211"/>
                  <a:pt x="3030379" y="1633061"/>
                </a:cubicBezTo>
                <a:cubicBezTo>
                  <a:pt x="3064955" y="1577912"/>
                  <a:pt x="3098578" y="1522190"/>
                  <a:pt x="3131630" y="1466183"/>
                </a:cubicBezTo>
                <a:cubicBezTo>
                  <a:pt x="3164396" y="1410081"/>
                  <a:pt x="3197162" y="1353979"/>
                  <a:pt x="3229928" y="1297972"/>
                </a:cubicBezTo>
                <a:cubicBezTo>
                  <a:pt x="3262503" y="1241870"/>
                  <a:pt x="3295174" y="1185863"/>
                  <a:pt x="3328416" y="1130332"/>
                </a:cubicBezTo>
                <a:cubicBezTo>
                  <a:pt x="3361754" y="1074896"/>
                  <a:pt x="3395758" y="1019842"/>
                  <a:pt x="3431381" y="966121"/>
                </a:cubicBezTo>
                <a:cubicBezTo>
                  <a:pt x="3467005" y="912400"/>
                  <a:pt x="3504248" y="859822"/>
                  <a:pt x="3544348" y="809720"/>
                </a:cubicBezTo>
                <a:lnTo>
                  <a:pt x="3544348" y="809530"/>
                </a:lnTo>
                <a:cubicBezTo>
                  <a:pt x="3633788" y="697802"/>
                  <a:pt x="3734372" y="595122"/>
                  <a:pt x="3844957" y="504730"/>
                </a:cubicBezTo>
                <a:cubicBezTo>
                  <a:pt x="3873056" y="482727"/>
                  <a:pt x="3900297" y="459486"/>
                  <a:pt x="3929729" y="439293"/>
                </a:cubicBezTo>
                <a:cubicBezTo>
                  <a:pt x="3944207" y="428816"/>
                  <a:pt x="3958685" y="418433"/>
                  <a:pt x="3973164" y="407956"/>
                </a:cubicBezTo>
                <a:cubicBezTo>
                  <a:pt x="3987927" y="397954"/>
                  <a:pt x="4003072" y="388429"/>
                  <a:pt x="4017931" y="378619"/>
                </a:cubicBezTo>
                <a:cubicBezTo>
                  <a:pt x="4047458" y="358521"/>
                  <a:pt x="4078700" y="341090"/>
                  <a:pt x="4109466" y="322993"/>
                </a:cubicBezTo>
                <a:cubicBezTo>
                  <a:pt x="4124706" y="313658"/>
                  <a:pt x="4140708" y="305848"/>
                  <a:pt x="4156520" y="297371"/>
                </a:cubicBezTo>
                <a:cubicBezTo>
                  <a:pt x="4172331" y="289179"/>
                  <a:pt x="4187952" y="280511"/>
                  <a:pt x="4204050" y="272701"/>
                </a:cubicBezTo>
                <a:cubicBezTo>
                  <a:pt x="4236530" y="257842"/>
                  <a:pt x="4268343" y="241554"/>
                  <a:pt x="4301585" y="228409"/>
                </a:cubicBezTo>
                <a:cubicBezTo>
                  <a:pt x="4318064" y="221647"/>
                  <a:pt x="4334447" y="214408"/>
                  <a:pt x="4351116" y="208026"/>
                </a:cubicBezTo>
                <a:cubicBezTo>
                  <a:pt x="4367879" y="201835"/>
                  <a:pt x="4384643" y="195644"/>
                  <a:pt x="4401312" y="189452"/>
                </a:cubicBezTo>
                <a:cubicBezTo>
                  <a:pt x="4417981" y="182975"/>
                  <a:pt x="4435126" y="177927"/>
                  <a:pt x="4451985" y="172307"/>
                </a:cubicBezTo>
                <a:cubicBezTo>
                  <a:pt x="4469035" y="166878"/>
                  <a:pt x="4485799" y="160877"/>
                  <a:pt x="4503134" y="156305"/>
                </a:cubicBezTo>
                <a:lnTo>
                  <a:pt x="4554665" y="141732"/>
                </a:lnTo>
                <a:lnTo>
                  <a:pt x="4606671" y="128969"/>
                </a:lnTo>
                <a:cubicBezTo>
                  <a:pt x="4623911" y="124492"/>
                  <a:pt x="4641533" y="121158"/>
                  <a:pt x="4658964" y="117539"/>
                </a:cubicBezTo>
                <a:cubicBezTo>
                  <a:pt x="4676394" y="113824"/>
                  <a:pt x="4693920" y="110204"/>
                  <a:pt x="4711542" y="107442"/>
                </a:cubicBezTo>
                <a:cubicBezTo>
                  <a:pt x="4746689" y="100965"/>
                  <a:pt x="4782026" y="96107"/>
                  <a:pt x="4817459" y="91440"/>
                </a:cubicBezTo>
                <a:lnTo>
                  <a:pt x="4870704" y="85725"/>
                </a:lnTo>
                <a:lnTo>
                  <a:pt x="4924140" y="81439"/>
                </a:lnTo>
                <a:cubicBezTo>
                  <a:pt x="4941951" y="80296"/>
                  <a:pt x="4959763" y="79534"/>
                  <a:pt x="4977670" y="78581"/>
                </a:cubicBezTo>
                <a:lnTo>
                  <a:pt x="5031201" y="77153"/>
                </a:lnTo>
                <a:cubicBezTo>
                  <a:pt x="5052727" y="77248"/>
                  <a:pt x="5074349" y="76867"/>
                  <a:pt x="5095875" y="77724"/>
                </a:cubicBezTo>
                <a:cubicBezTo>
                  <a:pt x="5106638" y="78010"/>
                  <a:pt x="5117402" y="78105"/>
                  <a:pt x="5128165" y="78772"/>
                </a:cubicBezTo>
                <a:lnTo>
                  <a:pt x="5160455" y="80391"/>
                </a:lnTo>
                <a:lnTo>
                  <a:pt x="5192649" y="82677"/>
                </a:lnTo>
                <a:cubicBezTo>
                  <a:pt x="5203317" y="83725"/>
                  <a:pt x="5214081" y="84487"/>
                  <a:pt x="5224749" y="85725"/>
                </a:cubicBezTo>
                <a:cubicBezTo>
                  <a:pt x="5235417" y="86868"/>
                  <a:pt x="5246084" y="88011"/>
                  <a:pt x="5256657" y="89535"/>
                </a:cubicBezTo>
                <a:lnTo>
                  <a:pt x="5272469" y="91726"/>
                </a:lnTo>
                <a:lnTo>
                  <a:pt x="5277612" y="92488"/>
                </a:lnTo>
                <a:lnTo>
                  <a:pt x="5277612" y="92488"/>
                </a:lnTo>
                <a:cubicBezTo>
                  <a:pt x="5278851" y="95726"/>
                  <a:pt x="5280089" y="99060"/>
                  <a:pt x="5281327" y="102394"/>
                </a:cubicBezTo>
                <a:cubicBezTo>
                  <a:pt x="5283804" y="109347"/>
                  <a:pt x="5287042" y="115824"/>
                  <a:pt x="5289804" y="122587"/>
                </a:cubicBezTo>
                <a:cubicBezTo>
                  <a:pt x="5307045" y="161734"/>
                  <a:pt x="5327904" y="198882"/>
                  <a:pt x="5350859" y="234601"/>
                </a:cubicBezTo>
                <a:cubicBezTo>
                  <a:pt x="5374387" y="269939"/>
                  <a:pt x="5400008" y="303848"/>
                  <a:pt x="5428107" y="335661"/>
                </a:cubicBezTo>
                <a:cubicBezTo>
                  <a:pt x="5484209" y="399383"/>
                  <a:pt x="5550313" y="454343"/>
                  <a:pt x="5622893" y="498539"/>
                </a:cubicBezTo>
                <a:cubicBezTo>
                  <a:pt x="5695569" y="542639"/>
                  <a:pt x="5775198" y="575120"/>
                  <a:pt x="5857590" y="595217"/>
                </a:cubicBezTo>
                <a:cubicBezTo>
                  <a:pt x="5867877" y="597694"/>
                  <a:pt x="5878068" y="600742"/>
                  <a:pt x="5888546" y="602742"/>
                </a:cubicBezTo>
                <a:lnTo>
                  <a:pt x="5919883" y="608171"/>
                </a:lnTo>
                <a:lnTo>
                  <a:pt x="5951221" y="613505"/>
                </a:lnTo>
                <a:cubicBezTo>
                  <a:pt x="5961698" y="615125"/>
                  <a:pt x="5972270" y="615696"/>
                  <a:pt x="5982843" y="616744"/>
                </a:cubicBezTo>
                <a:lnTo>
                  <a:pt x="6014466" y="619697"/>
                </a:lnTo>
                <a:lnTo>
                  <a:pt x="6030278" y="621125"/>
                </a:lnTo>
                <a:lnTo>
                  <a:pt x="6046089" y="621411"/>
                </a:lnTo>
                <a:lnTo>
                  <a:pt x="6109526" y="622459"/>
                </a:lnTo>
                <a:cubicBezTo>
                  <a:pt x="6151817" y="619792"/>
                  <a:pt x="6194298" y="618935"/>
                  <a:pt x="6236113" y="612362"/>
                </a:cubicBezTo>
                <a:lnTo>
                  <a:pt x="6267545" y="608362"/>
                </a:lnTo>
                <a:cubicBezTo>
                  <a:pt x="6272784" y="607695"/>
                  <a:pt x="6278023" y="607124"/>
                  <a:pt x="6283262" y="606266"/>
                </a:cubicBezTo>
                <a:lnTo>
                  <a:pt x="6298788" y="603218"/>
                </a:lnTo>
                <a:lnTo>
                  <a:pt x="6360986" y="591026"/>
                </a:lnTo>
                <a:cubicBezTo>
                  <a:pt x="6366129" y="589979"/>
                  <a:pt x="6371368" y="589026"/>
                  <a:pt x="6376511" y="587883"/>
                </a:cubicBezTo>
                <a:lnTo>
                  <a:pt x="6391847" y="583883"/>
                </a:lnTo>
                <a:lnTo>
                  <a:pt x="6422422" y="575882"/>
                </a:lnTo>
                <a:lnTo>
                  <a:pt x="6452997" y="567785"/>
                </a:lnTo>
                <a:cubicBezTo>
                  <a:pt x="6463189" y="565023"/>
                  <a:pt x="6473476" y="562642"/>
                  <a:pt x="6483382" y="559118"/>
                </a:cubicBezTo>
                <a:cubicBezTo>
                  <a:pt x="6503384" y="552545"/>
                  <a:pt x="6523387" y="545973"/>
                  <a:pt x="6543390" y="539401"/>
                </a:cubicBezTo>
                <a:lnTo>
                  <a:pt x="6573393" y="529590"/>
                </a:lnTo>
                <a:cubicBezTo>
                  <a:pt x="6583299" y="526066"/>
                  <a:pt x="6593014" y="521970"/>
                  <a:pt x="6602826" y="518255"/>
                </a:cubicBezTo>
                <a:cubicBezTo>
                  <a:pt x="6641878" y="502634"/>
                  <a:pt x="6681597" y="488633"/>
                  <a:pt x="6719507" y="470440"/>
                </a:cubicBezTo>
                <a:cubicBezTo>
                  <a:pt x="6738652" y="461772"/>
                  <a:pt x="6757797" y="453104"/>
                  <a:pt x="6776943" y="444437"/>
                </a:cubicBezTo>
                <a:cubicBezTo>
                  <a:pt x="6796278" y="436150"/>
                  <a:pt x="6814757" y="426149"/>
                  <a:pt x="6833426" y="416719"/>
                </a:cubicBezTo>
                <a:cubicBezTo>
                  <a:pt x="6852095" y="407194"/>
                  <a:pt x="6870764" y="397574"/>
                  <a:pt x="6889433" y="388049"/>
                </a:cubicBezTo>
                <a:cubicBezTo>
                  <a:pt x="6898767" y="383191"/>
                  <a:pt x="6908197" y="378619"/>
                  <a:pt x="6917341" y="373571"/>
                </a:cubicBezTo>
                <a:lnTo>
                  <a:pt x="6944678" y="358045"/>
                </a:lnTo>
                <a:lnTo>
                  <a:pt x="6999256" y="326898"/>
                </a:lnTo>
                <a:cubicBezTo>
                  <a:pt x="7017354" y="316325"/>
                  <a:pt x="7035927" y="306515"/>
                  <a:pt x="7053453" y="295085"/>
                </a:cubicBezTo>
                <a:cubicBezTo>
                  <a:pt x="7053453" y="295085"/>
                  <a:pt x="7086505" y="274320"/>
                  <a:pt x="7152704" y="232886"/>
                </a:cubicBezTo>
                <a:cubicBezTo>
                  <a:pt x="7169468" y="222885"/>
                  <a:pt x="7187184" y="209836"/>
                  <a:pt x="7207472" y="196310"/>
                </a:cubicBezTo>
                <a:cubicBezTo>
                  <a:pt x="7227571" y="182594"/>
                  <a:pt x="7249763" y="167450"/>
                  <a:pt x="7273957" y="150971"/>
                </a:cubicBezTo>
                <a:cubicBezTo>
                  <a:pt x="7298437" y="134874"/>
                  <a:pt x="7323677" y="115729"/>
                  <a:pt x="7351205" y="95631"/>
                </a:cubicBezTo>
                <a:cubicBezTo>
                  <a:pt x="7378637" y="75438"/>
                  <a:pt x="7408164" y="53816"/>
                  <a:pt x="7439502" y="30671"/>
                </a:cubicBezTo>
                <a:close/>
              </a:path>
            </a:pathLst>
          </a:custGeom>
          <a:gradFill>
            <a:gsLst>
              <a:gs pos="93000">
                <a:schemeClr val="accent2">
                  <a:alpha val="0"/>
                </a:schemeClr>
              </a:gs>
              <a:gs pos="17000">
                <a:schemeClr val="accent2">
                  <a:alpha val="0"/>
                </a:schemeClr>
              </a:gs>
              <a:gs pos="72000">
                <a:schemeClr val="accent2"/>
              </a:gs>
              <a:gs pos="38000">
                <a:schemeClr val="accent2"/>
              </a:gs>
            </a:gsLst>
            <a:lin ang="0" scaled="1"/>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2451372792"/>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clusion">
    <p:bg>
      <p:bgPr>
        <a:solidFill>
          <a:schemeClr val="accent4"/>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27038" y="2680309"/>
            <a:ext cx="11356975" cy="1495794"/>
          </a:xfrm>
          <a:prstGeom prst="rect">
            <a:avLst/>
          </a:prstGeom>
        </p:spPr>
        <p:txBody>
          <a:bodyPr wrap="square" anchor="ctr" anchorCtr="0">
            <a:spAutoFit/>
          </a:bodyPr>
          <a:lstStyle>
            <a:lvl1pPr marL="0" indent="0" algn="l">
              <a:lnSpc>
                <a:spcPct val="90000"/>
              </a:lnSpc>
              <a:spcBef>
                <a:spcPts val="0"/>
              </a:spcBef>
              <a:spcAft>
                <a:spcPts val="0"/>
              </a:spcAft>
              <a:buFontTx/>
              <a:buNone/>
              <a:defRPr sz="5400" b="1"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ck to insert cover </a:t>
            </a:r>
            <a:r>
              <a:rPr lang="fr-FR" err="1"/>
              <a:t>title</a:t>
            </a:r>
            <a:r>
              <a:rPr lang="fr-FR"/>
              <a:t> (sentence case) </a:t>
            </a:r>
          </a:p>
        </p:txBody>
      </p:sp>
      <p:grpSp>
        <p:nvGrpSpPr>
          <p:cNvPr id="2" name="Group 2">
            <a:extLst>
              <a:ext uri="{FF2B5EF4-FFF2-40B4-BE49-F238E27FC236}">
                <a16:creationId xmlns:a16="http://schemas.microsoft.com/office/drawing/2014/main" id="{E112FC67-26E6-91F9-0FAE-294883269917}"/>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FC0E4D70-5998-8125-42E2-E0EE77A84AC4}"/>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1" name="Freeform: Shape 5">
              <a:extLst>
                <a:ext uri="{FF2B5EF4-FFF2-40B4-BE49-F238E27FC236}">
                  <a16:creationId xmlns:a16="http://schemas.microsoft.com/office/drawing/2014/main" id="{FBD6D893-3276-B285-3B03-8726CD1FFB2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2" name="Freeform: Shape 6">
              <a:extLst>
                <a:ext uri="{FF2B5EF4-FFF2-40B4-BE49-F238E27FC236}">
                  <a16:creationId xmlns:a16="http://schemas.microsoft.com/office/drawing/2014/main" id="{6F9A7FDE-2DE1-AB6B-F371-23968DFB687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7">
              <a:extLst>
                <a:ext uri="{FF2B5EF4-FFF2-40B4-BE49-F238E27FC236}">
                  <a16:creationId xmlns:a16="http://schemas.microsoft.com/office/drawing/2014/main" id="{72366D37-668B-51CE-2CE6-C9DA736141B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8">
              <a:extLst>
                <a:ext uri="{FF2B5EF4-FFF2-40B4-BE49-F238E27FC236}">
                  <a16:creationId xmlns:a16="http://schemas.microsoft.com/office/drawing/2014/main" id="{9CF35CA0-09E8-81C3-4DA7-F503D6BAE3A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pic>
        <p:nvPicPr>
          <p:cNvPr id="4" name="Picture 16">
            <a:extLst>
              <a:ext uri="{FF2B5EF4-FFF2-40B4-BE49-F238E27FC236}">
                <a16:creationId xmlns:a16="http://schemas.microsoft.com/office/drawing/2014/main" id="{415561A2-AF17-AE8E-8E0A-9B607FD1FAB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59896" y="1107202"/>
            <a:ext cx="8281358" cy="6858000"/>
          </a:xfrm>
          <a:prstGeom prst="rect">
            <a:avLst/>
          </a:prstGeom>
        </p:spPr>
      </p:pic>
    </p:spTree>
    <p:extLst>
      <p:ext uri="{BB962C8B-B14F-4D97-AF65-F5344CB8AC3E}">
        <p14:creationId xmlns:p14="http://schemas.microsoft.com/office/powerpoint/2010/main" val="370705131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0" name="Rectangle 9">
            <a:extLst>
              <a:ext uri="{FF2B5EF4-FFF2-40B4-BE49-F238E27FC236}">
                <a16:creationId xmlns:a16="http://schemas.microsoft.com/office/drawing/2014/main" id="{1CF8E95A-EAD0-F8EB-AED2-77B208DD6B37}"/>
              </a:ext>
            </a:extLst>
          </p:cNvPr>
          <p:cNvSpPr/>
          <p:nvPr userDrawn="1"/>
        </p:nvSpPr>
        <p:spPr>
          <a:xfrm>
            <a:off x="5159896" y="1916832"/>
            <a:ext cx="7032104" cy="4941168"/>
          </a:xfrm>
          <a:prstGeom prst="rect">
            <a:avLst/>
          </a:prstGeom>
          <a:solidFill>
            <a:schemeClr val="bg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tx1"/>
                </a:solidFill>
              </a:rPr>
              <a:t>Photo placeholder</a:t>
            </a:r>
          </a:p>
        </p:txBody>
      </p:sp>
      <p:sp>
        <p:nvSpPr>
          <p:cNvPr id="9" name="Graphic 13">
            <a:extLst>
              <a:ext uri="{FF2B5EF4-FFF2-40B4-BE49-F238E27FC236}">
                <a16:creationId xmlns:a16="http://schemas.microsoft.com/office/drawing/2014/main" id="{6E884CCD-E9B2-C3F4-CE91-FF393F06C6C6}"/>
              </a:ext>
            </a:extLst>
          </p:cNvPr>
          <p:cNvSpPr>
            <a:spLocks noChangeAspect="1"/>
          </p:cNvSpPr>
          <p:nvPr userDrawn="1"/>
        </p:nvSpPr>
        <p:spPr>
          <a:xfrm rot="20991934">
            <a:off x="672204" y="532244"/>
            <a:ext cx="8831893" cy="5793514"/>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23000">
                <a:schemeClr val="accent2">
                  <a:alpha val="0"/>
                </a:schemeClr>
              </a:gs>
              <a:gs pos="39000">
                <a:srgbClr val="12ABDB"/>
              </a:gs>
              <a:gs pos="62000">
                <a:srgbClr val="12ABDB"/>
              </a:gs>
              <a:gs pos="73000">
                <a:schemeClr val="accent2"/>
              </a:gs>
            </a:gsLst>
            <a:lin ang="16200000" scaled="0"/>
          </a:gradFill>
          <a:ln w="9525" cap="flat">
            <a:noFill/>
            <a:prstDash val="solid"/>
            <a:miter/>
          </a:ln>
        </p:spPr>
        <p:txBody>
          <a:bodyPr rtlCol="0" anchor="ctr"/>
          <a:lstStyle/>
          <a:p>
            <a:endParaRPr lang="de-DE"/>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408525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hasCustomPrompt="1"/>
          </p:nvPr>
        </p:nvSpPr>
        <p:spPr>
          <a:xfrm>
            <a:off x="407368" y="366898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insert subtitle (sentence case) </a:t>
            </a:r>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307434"/>
            <a:ext cx="4609034" cy="1828193"/>
          </a:xfrm>
        </p:spPr>
        <p:txBody>
          <a:bodyPr wrap="square" lIns="0" tIns="0" rIns="0" bIns="0" anchor="b" anchorCtr="0">
            <a:spAutoFit/>
          </a:bodyPr>
          <a:lstStyle>
            <a:lvl1pPr algn="l">
              <a:lnSpc>
                <a:spcPct val="90000"/>
              </a:lnSpc>
              <a:tabLst>
                <a:tab pos="1258888" algn="l"/>
              </a:tabLst>
              <a:defRPr sz="4400" b="0" cap="none" baseline="0">
                <a:solidFill>
                  <a:schemeClr val="bg1"/>
                </a:solidFill>
                <a:latin typeface="+mj-lt"/>
              </a:defRPr>
            </a:lvl1pPr>
          </a:lstStyle>
          <a:p>
            <a:r>
              <a:rPr lang="fr-FR"/>
              <a:t>Click to insert cover </a:t>
            </a:r>
            <a:r>
              <a:rPr lang="fr-FR" err="1"/>
              <a:t>title</a:t>
            </a:r>
            <a:r>
              <a:rPr lang="fr-FR"/>
              <a:t> (sentence case) </a:t>
            </a:r>
            <a:endParaRPr lang="en-GB"/>
          </a:p>
        </p:txBody>
      </p:sp>
      <p:grpSp>
        <p:nvGrpSpPr>
          <p:cNvPr id="2" name="Group 2">
            <a:extLst>
              <a:ext uri="{FF2B5EF4-FFF2-40B4-BE49-F238E27FC236}">
                <a16:creationId xmlns:a16="http://schemas.microsoft.com/office/drawing/2014/main" id="{F51496C4-1393-EC1A-FE90-568BF22C8C7B}"/>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0937F72A-96AE-F5EC-755D-D45529304F3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96B9DAFA-5CFE-3E91-78D3-742C4B9A849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CB9EFD82-551E-D525-DCB6-363C1A232636}"/>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F9FEB3BD-8FE6-4A58-DFA9-1F350C2DE2F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D59F2406-4DC9-3FBA-F0C2-60E886FCA30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382063507"/>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b">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0" name="Rectangle 9">
            <a:extLst>
              <a:ext uri="{FF2B5EF4-FFF2-40B4-BE49-F238E27FC236}">
                <a16:creationId xmlns:a16="http://schemas.microsoft.com/office/drawing/2014/main" id="{7E497905-C54C-5E58-5503-414580A0ECCD}"/>
              </a:ext>
            </a:extLst>
          </p:cNvPr>
          <p:cNvSpPr/>
          <p:nvPr userDrawn="1"/>
        </p:nvSpPr>
        <p:spPr>
          <a:xfrm>
            <a:off x="6096000" y="1916832"/>
            <a:ext cx="3816424" cy="4941168"/>
          </a:xfrm>
          <a:prstGeom prst="rect">
            <a:avLst/>
          </a:prstGeom>
          <a:solidFill>
            <a:schemeClr val="bg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tx1"/>
                </a:solidFill>
              </a:rPr>
              <a:t>Photo placeholder</a:t>
            </a:r>
          </a:p>
        </p:txBody>
      </p:sp>
      <p:sp>
        <p:nvSpPr>
          <p:cNvPr id="8" name="Graphic 13">
            <a:extLst>
              <a:ext uri="{FF2B5EF4-FFF2-40B4-BE49-F238E27FC236}">
                <a16:creationId xmlns:a16="http://schemas.microsoft.com/office/drawing/2014/main" id="{A26A9E4E-AD3C-F1BB-A347-B1AA2A7D2BF6}"/>
              </a:ext>
            </a:extLst>
          </p:cNvPr>
          <p:cNvSpPr>
            <a:spLocks noChangeAspect="1"/>
          </p:cNvSpPr>
          <p:nvPr userDrawn="1"/>
        </p:nvSpPr>
        <p:spPr>
          <a:xfrm rot="20991934">
            <a:off x="672203" y="532243"/>
            <a:ext cx="8831893" cy="5793514"/>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23000">
                <a:schemeClr val="accent2">
                  <a:alpha val="0"/>
                </a:schemeClr>
              </a:gs>
              <a:gs pos="39000">
                <a:srgbClr val="12ABDB"/>
              </a:gs>
              <a:gs pos="62000">
                <a:srgbClr val="12ABDB"/>
              </a:gs>
              <a:gs pos="73000">
                <a:schemeClr val="accent2"/>
              </a:gs>
            </a:gsLst>
            <a:lin ang="16200000" scaled="0"/>
          </a:gradFill>
          <a:ln w="9525" cap="flat">
            <a:noFill/>
            <a:prstDash val="solid"/>
            <a:miter/>
          </a:ln>
        </p:spPr>
        <p:txBody>
          <a:bodyPr rtlCol="0" anchor="ctr"/>
          <a:lstStyle/>
          <a:p>
            <a:endParaRPr lang="de-DE"/>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4055372"/>
            <a:ext cx="4597606"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hasCustomPrompt="1"/>
          </p:nvPr>
        </p:nvSpPr>
        <p:spPr>
          <a:xfrm>
            <a:off x="407368" y="3639104"/>
            <a:ext cx="4597606"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insert subtitle (sentence case) </a:t>
            </a:r>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287388"/>
            <a:ext cx="4597606" cy="1828193"/>
          </a:xfrm>
        </p:spPr>
        <p:txBody>
          <a:bodyPr wrap="square" lIns="0" tIns="0" rIns="0" bIns="0" anchor="b" anchorCtr="0">
            <a:spAutoFit/>
          </a:bodyPr>
          <a:lstStyle>
            <a:lvl1pPr algn="l">
              <a:lnSpc>
                <a:spcPct val="90000"/>
              </a:lnSpc>
              <a:tabLst>
                <a:tab pos="1258888" algn="l"/>
              </a:tabLst>
              <a:defRPr sz="4400" b="0" cap="none" baseline="0">
                <a:solidFill>
                  <a:schemeClr val="bg1"/>
                </a:solidFill>
                <a:latin typeface="+mj-lt"/>
              </a:defRPr>
            </a:lvl1pPr>
          </a:lstStyle>
          <a:p>
            <a:r>
              <a:rPr lang="fr-FR"/>
              <a:t>Click to insert cover </a:t>
            </a:r>
            <a:r>
              <a:rPr lang="fr-FR" err="1"/>
              <a:t>title</a:t>
            </a:r>
            <a:r>
              <a:rPr lang="fr-FR"/>
              <a:t> (sentence case) </a:t>
            </a:r>
            <a:endParaRPr lang="en-GB"/>
          </a:p>
        </p:txBody>
      </p:sp>
      <p:grpSp>
        <p:nvGrpSpPr>
          <p:cNvPr id="2" name="Group 2">
            <a:extLst>
              <a:ext uri="{FF2B5EF4-FFF2-40B4-BE49-F238E27FC236}">
                <a16:creationId xmlns:a16="http://schemas.microsoft.com/office/drawing/2014/main" id="{4DB64C0B-D342-EDD4-D426-B9A5B83A4685}"/>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70BA0B6B-013E-ED21-5C0C-A7573716118E}"/>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4" name="Freeform: Shape 5">
              <a:extLst>
                <a:ext uri="{FF2B5EF4-FFF2-40B4-BE49-F238E27FC236}">
                  <a16:creationId xmlns:a16="http://schemas.microsoft.com/office/drawing/2014/main" id="{A8C76A2C-1551-D00B-5D24-ECE94A0DB1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5" name="Freeform: Shape 6">
              <a:extLst>
                <a:ext uri="{FF2B5EF4-FFF2-40B4-BE49-F238E27FC236}">
                  <a16:creationId xmlns:a16="http://schemas.microsoft.com/office/drawing/2014/main" id="{F5EB07D2-E52D-E392-D3C8-37455096D778}"/>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7">
              <a:extLst>
                <a:ext uri="{FF2B5EF4-FFF2-40B4-BE49-F238E27FC236}">
                  <a16:creationId xmlns:a16="http://schemas.microsoft.com/office/drawing/2014/main" id="{04CC7865-5F12-6284-B1F5-C81724EA1048}"/>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F2F7B79C-F81D-D4E8-CCCC-1A80B79E58F5}"/>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399941868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159896" cy="5260428"/>
          </a:xfrm>
          <a:prstGeom prst="rect">
            <a:avLst/>
          </a:prstGeom>
          <a:solidFill>
            <a:schemeClr val="bg2"/>
          </a:solidFill>
        </p:spPr>
        <p:txBody>
          <a:bodyPr anchor="ctr"/>
          <a:lstStyle>
            <a:lvl1pPr algn="ctr">
              <a:defRPr/>
            </a:lvl1pPr>
          </a:lstStyle>
          <a:p>
            <a:r>
              <a:rPr lang="en-US"/>
              <a:t>Click the icon to add an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384032" y="1192909"/>
            <a:ext cx="5399981"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384032" y="1865049"/>
            <a:ext cx="539998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384032" y="2537189"/>
            <a:ext cx="5399981"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384032" y="3209329"/>
            <a:ext cx="5399981"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384032" y="3881469"/>
            <a:ext cx="5399981"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384032" y="4553609"/>
            <a:ext cx="5399981"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384032" y="5225749"/>
            <a:ext cx="5399981"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384032" y="5897889"/>
            <a:ext cx="5399981"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 name="Title 1">
            <a:extLst>
              <a:ext uri="{FF2B5EF4-FFF2-40B4-BE49-F238E27FC236}">
                <a16:creationId xmlns:a16="http://schemas.microsoft.com/office/drawing/2014/main" id="{9D5111C9-BF1D-4957-9C22-F45DD34F3344}"/>
              </a:ext>
            </a:extLst>
          </p:cNvPr>
          <p:cNvSpPr>
            <a:spLocks noGrp="1"/>
          </p:cNvSpPr>
          <p:nvPr>
            <p:ph type="title" hasCustomPrompt="1"/>
          </p:nvPr>
        </p:nvSpPr>
        <p:spPr/>
        <p:txBody>
          <a:bodyPr/>
          <a:lstStyle/>
          <a:p>
            <a:r>
              <a:rPr lang="en-US"/>
              <a:t>Click to edit Agenda</a:t>
            </a:r>
          </a:p>
        </p:txBody>
      </p:sp>
      <p:grpSp>
        <p:nvGrpSpPr>
          <p:cNvPr id="3" name="Groupe 1">
            <a:extLst>
              <a:ext uri="{FF2B5EF4-FFF2-40B4-BE49-F238E27FC236}">
                <a16:creationId xmlns:a16="http://schemas.microsoft.com/office/drawing/2014/main" id="{19C4226E-1E80-1391-353B-084F14D80E70}"/>
              </a:ext>
            </a:extLst>
          </p:cNvPr>
          <p:cNvGrpSpPr/>
          <p:nvPr userDrawn="1"/>
        </p:nvGrpSpPr>
        <p:grpSpPr>
          <a:xfrm>
            <a:off x="11501102" y="171573"/>
            <a:ext cx="419436" cy="388988"/>
            <a:chOff x="11501102" y="171573"/>
            <a:chExt cx="419436" cy="388988"/>
          </a:xfrm>
        </p:grpSpPr>
        <p:sp>
          <p:nvSpPr>
            <p:cNvPr id="4" name="Freeform 13">
              <a:extLst>
                <a:ext uri="{FF2B5EF4-FFF2-40B4-BE49-F238E27FC236}">
                  <a16:creationId xmlns:a16="http://schemas.microsoft.com/office/drawing/2014/main" id="{055207CA-0E75-72FC-D44A-A4A4CDC404C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a:extLst>
                <a:ext uri="{FF2B5EF4-FFF2-40B4-BE49-F238E27FC236}">
                  <a16:creationId xmlns:a16="http://schemas.microsoft.com/office/drawing/2014/main" id="{434C2C10-9EAC-2B56-9453-F0560E0CBAA2}"/>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43728603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genda Dark and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692696"/>
            <a:ext cx="4751907" cy="720179"/>
          </a:xfrm>
        </p:spPr>
        <p:txBody>
          <a:bodyPr vert="horz" lIns="0" tIns="0" rIns="0" bIns="0" rtlCol="0" anchor="b">
            <a:noAutofit/>
          </a:bodyPr>
          <a:lstStyle>
            <a:lvl1pPr>
              <a:lnSpc>
                <a:spcPct val="80000"/>
              </a:lnSpc>
              <a:defRPr lang="en-GB" sz="3600" baseline="0">
                <a:solidFill>
                  <a:schemeClr val="bg1"/>
                </a:solidFill>
              </a:defRPr>
            </a:lvl1pPr>
          </a:lstStyle>
          <a:p>
            <a:pPr lvl="0"/>
            <a:r>
              <a:rPr lang="en-US"/>
              <a:t>Click to edit Agenda</a:t>
            </a:r>
            <a:endParaRPr lang="en-GB"/>
          </a:p>
        </p:txBody>
      </p:sp>
      <p:grpSp>
        <p:nvGrpSpPr>
          <p:cNvPr id="6" name="Groupe 1">
            <a:extLst>
              <a:ext uri="{FF2B5EF4-FFF2-40B4-BE49-F238E27FC236}">
                <a16:creationId xmlns:a16="http://schemas.microsoft.com/office/drawing/2014/main" id="{B97E0AD7-7362-3010-65FE-729EA2DDA422}"/>
              </a:ext>
            </a:extLst>
          </p:cNvPr>
          <p:cNvGrpSpPr/>
          <p:nvPr userDrawn="1"/>
        </p:nvGrpSpPr>
        <p:grpSpPr>
          <a:xfrm>
            <a:off x="11501102" y="171573"/>
            <a:ext cx="419436" cy="388988"/>
            <a:chOff x="11501102" y="171573"/>
            <a:chExt cx="419436" cy="388988"/>
          </a:xfrm>
        </p:grpSpPr>
        <p:sp>
          <p:nvSpPr>
            <p:cNvPr id="7" name="Freeform 13">
              <a:extLst>
                <a:ext uri="{FF2B5EF4-FFF2-40B4-BE49-F238E27FC236}">
                  <a16:creationId xmlns:a16="http://schemas.microsoft.com/office/drawing/2014/main" id="{BF516725-4457-03C2-E80B-B7811FD3676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A7180E91-F097-7D53-D211-C8F2352C34DF}"/>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pic>
        <p:nvPicPr>
          <p:cNvPr id="9" name="Picture 8" descr="A group of medical professionals looking at a tablet&#10;&#10;Description automatically generated">
            <a:extLst>
              <a:ext uri="{FF2B5EF4-FFF2-40B4-BE49-F238E27FC236}">
                <a16:creationId xmlns:a16="http://schemas.microsoft.com/office/drawing/2014/main" id="{FCE6F7D2-14A4-C831-80D9-A5240DAAFF7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95997" y="850552"/>
            <a:ext cx="6096003" cy="6007448"/>
          </a:xfrm>
          <a:prstGeom prst="rect">
            <a:avLst/>
          </a:prstGeom>
        </p:spPr>
      </p:pic>
    </p:spTree>
    <p:extLst>
      <p:ext uri="{BB962C8B-B14F-4D97-AF65-F5344CB8AC3E}">
        <p14:creationId xmlns:p14="http://schemas.microsoft.com/office/powerpoint/2010/main" val="31857342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Agenda Dark and Picture">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692696"/>
            <a:ext cx="4751907" cy="720179"/>
          </a:xfrm>
        </p:spPr>
        <p:txBody>
          <a:bodyPr vert="horz" lIns="0" tIns="0" rIns="0" bIns="0" rtlCol="0" anchor="b">
            <a:noAutofit/>
          </a:bodyPr>
          <a:lstStyle>
            <a:lvl1pPr>
              <a:lnSpc>
                <a:spcPct val="80000"/>
              </a:lnSpc>
              <a:defRPr lang="en-GB" sz="3600" baseline="0">
                <a:solidFill>
                  <a:schemeClr val="bg1"/>
                </a:solidFill>
              </a:defRPr>
            </a:lvl1pPr>
          </a:lstStyle>
          <a:p>
            <a:pPr lvl="0"/>
            <a:r>
              <a:rPr lang="en-US"/>
              <a:t>Click to edit Agenda</a:t>
            </a:r>
            <a:endParaRPr lang="en-GB"/>
          </a:p>
        </p:txBody>
      </p:sp>
      <p:grpSp>
        <p:nvGrpSpPr>
          <p:cNvPr id="6" name="Groupe 1">
            <a:extLst>
              <a:ext uri="{FF2B5EF4-FFF2-40B4-BE49-F238E27FC236}">
                <a16:creationId xmlns:a16="http://schemas.microsoft.com/office/drawing/2014/main" id="{B97E0AD7-7362-3010-65FE-729EA2DDA422}"/>
              </a:ext>
            </a:extLst>
          </p:cNvPr>
          <p:cNvGrpSpPr/>
          <p:nvPr userDrawn="1"/>
        </p:nvGrpSpPr>
        <p:grpSpPr>
          <a:xfrm>
            <a:off x="11501102" y="171573"/>
            <a:ext cx="419436" cy="388988"/>
            <a:chOff x="11501102" y="171573"/>
            <a:chExt cx="419436" cy="388988"/>
          </a:xfrm>
        </p:grpSpPr>
        <p:sp>
          <p:nvSpPr>
            <p:cNvPr id="7" name="Freeform 13">
              <a:extLst>
                <a:ext uri="{FF2B5EF4-FFF2-40B4-BE49-F238E27FC236}">
                  <a16:creationId xmlns:a16="http://schemas.microsoft.com/office/drawing/2014/main" id="{BF516725-4457-03C2-E80B-B7811FD3676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A7180E91-F097-7D53-D211-C8F2352C34DF}"/>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pic>
        <p:nvPicPr>
          <p:cNvPr id="5" name="Picture 4" descr="A nurse talking to a person&#10;&#10;Description automatically generated">
            <a:extLst>
              <a:ext uri="{FF2B5EF4-FFF2-40B4-BE49-F238E27FC236}">
                <a16:creationId xmlns:a16="http://schemas.microsoft.com/office/drawing/2014/main" id="{43D3F793-D98A-886A-211E-89E35DB24BA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096000" y="865526"/>
            <a:ext cx="6096000" cy="5992472"/>
          </a:xfrm>
          <a:prstGeom prst="rect">
            <a:avLst/>
          </a:prstGeom>
        </p:spPr>
      </p:pic>
    </p:spTree>
    <p:extLst>
      <p:ext uri="{BB962C8B-B14F-4D97-AF65-F5344CB8AC3E}">
        <p14:creationId xmlns:p14="http://schemas.microsoft.com/office/powerpoint/2010/main" val="22008477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Agenda">
    <p:bg>
      <p:bgPr>
        <a:solidFill>
          <a:schemeClr val="accent4"/>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solidFill>
                  <a:schemeClr val="bg1"/>
                </a:solidFill>
              </a:defRPr>
            </a:lvl1pPr>
          </a:lstStyle>
          <a:p>
            <a:pPr lvl="0"/>
            <a:r>
              <a:rPr lang="en-US"/>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 name="Title Placeholder 1">
            <a:extLst>
              <a:ext uri="{FF2B5EF4-FFF2-40B4-BE49-F238E27FC236}">
                <a16:creationId xmlns:a16="http://schemas.microsoft.com/office/drawing/2014/main" id="{808BAF09-C52E-54E6-E538-78C64D8AB519}"/>
              </a:ext>
            </a:extLst>
          </p:cNvPr>
          <p:cNvSpPr>
            <a:spLocks noGrp="1"/>
          </p:cNvSpPr>
          <p:nvPr>
            <p:ph type="title" hasCustomPrompt="1"/>
          </p:nvPr>
        </p:nvSpPr>
        <p:spPr>
          <a:xfrm>
            <a:off x="1079321" y="260350"/>
            <a:ext cx="8640763" cy="792163"/>
          </a:xfrm>
        </p:spPr>
        <p:txBody>
          <a:bodyPr/>
          <a:lstStyle>
            <a:lvl1pPr>
              <a:defRPr>
                <a:solidFill>
                  <a:schemeClr val="accent2"/>
                </a:solidFill>
              </a:defRPr>
            </a:lvl1pPr>
          </a:lstStyle>
          <a:p>
            <a:r>
              <a:rPr lang="en-US"/>
              <a:t>Click to edit Agenda</a:t>
            </a:r>
          </a:p>
        </p:txBody>
      </p:sp>
      <p:sp>
        <p:nvSpPr>
          <p:cNvPr id="5" name="Graphic 13">
            <a:extLst>
              <a:ext uri="{FF2B5EF4-FFF2-40B4-BE49-F238E27FC236}">
                <a16:creationId xmlns:a16="http://schemas.microsoft.com/office/drawing/2014/main" id="{F572943C-F323-448E-9E89-EB20C238CD1E}"/>
              </a:ext>
            </a:extLst>
          </p:cNvPr>
          <p:cNvSpPr>
            <a:spLocks noChangeAspect="1"/>
          </p:cNvSpPr>
          <p:nvPr userDrawn="1"/>
        </p:nvSpPr>
        <p:spPr>
          <a:xfrm rot="20991934">
            <a:off x="3632761" y="2218636"/>
            <a:ext cx="8831893" cy="5793514"/>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23000">
                <a:schemeClr val="accent2">
                  <a:alpha val="0"/>
                </a:schemeClr>
              </a:gs>
              <a:gs pos="39000">
                <a:srgbClr val="12ABDB"/>
              </a:gs>
              <a:gs pos="62000">
                <a:srgbClr val="12ABDB"/>
              </a:gs>
              <a:gs pos="73000">
                <a:schemeClr val="accent2"/>
              </a:gs>
            </a:gsLst>
            <a:lin ang="16200000" scaled="0"/>
          </a:gradFill>
          <a:ln w="9525" cap="flat">
            <a:noFill/>
            <a:prstDash val="solid"/>
            <a:miter/>
          </a:ln>
        </p:spPr>
        <p:txBody>
          <a:bodyPr rtlCol="0" anchor="ctr"/>
          <a:lstStyle/>
          <a:p>
            <a:endParaRPr lang="de-DE"/>
          </a:p>
        </p:txBody>
      </p:sp>
      <p:grpSp>
        <p:nvGrpSpPr>
          <p:cNvPr id="3" name="Groupe 1">
            <a:extLst>
              <a:ext uri="{FF2B5EF4-FFF2-40B4-BE49-F238E27FC236}">
                <a16:creationId xmlns:a16="http://schemas.microsoft.com/office/drawing/2014/main" id="{6135F38C-1ABC-6C91-14E7-093D9D8A7E8F}"/>
              </a:ext>
            </a:extLst>
          </p:cNvPr>
          <p:cNvGrpSpPr/>
          <p:nvPr userDrawn="1"/>
        </p:nvGrpSpPr>
        <p:grpSpPr>
          <a:xfrm>
            <a:off x="11501102" y="171573"/>
            <a:ext cx="419436" cy="388988"/>
            <a:chOff x="11501102" y="171573"/>
            <a:chExt cx="419436" cy="388988"/>
          </a:xfrm>
        </p:grpSpPr>
        <p:sp>
          <p:nvSpPr>
            <p:cNvPr id="4" name="Freeform 13">
              <a:extLst>
                <a:ext uri="{FF2B5EF4-FFF2-40B4-BE49-F238E27FC236}">
                  <a16:creationId xmlns:a16="http://schemas.microsoft.com/office/drawing/2014/main" id="{A508C8FD-96C6-3011-1B30-63194420133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 name="Freeform 14">
              <a:extLst>
                <a:ext uri="{FF2B5EF4-FFF2-40B4-BE49-F238E27FC236}">
                  <a16:creationId xmlns:a16="http://schemas.microsoft.com/office/drawing/2014/main" id="{0B483517-A12C-3C95-8A30-7F69D4483290}"/>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206968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Agenda">
    <p:bg>
      <p:bgPr>
        <a:solidFill>
          <a:schemeClr val="accent4"/>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08BAF09-C52E-54E6-E538-78C64D8AB519}"/>
              </a:ext>
            </a:extLst>
          </p:cNvPr>
          <p:cNvSpPr>
            <a:spLocks noGrp="1"/>
          </p:cNvSpPr>
          <p:nvPr>
            <p:ph type="title" hasCustomPrompt="1"/>
          </p:nvPr>
        </p:nvSpPr>
        <p:spPr>
          <a:xfrm>
            <a:off x="805943" y="547351"/>
            <a:ext cx="8640763" cy="792163"/>
          </a:xfrm>
        </p:spPr>
        <p:txBody>
          <a:bodyPr/>
          <a:lstStyle>
            <a:lvl1pPr>
              <a:defRPr>
                <a:solidFill>
                  <a:schemeClr val="accent2"/>
                </a:solidFill>
              </a:defRPr>
            </a:lvl1pPr>
          </a:lstStyle>
          <a:p>
            <a:r>
              <a:rPr lang="en-US"/>
              <a:t>Click to edit Agenda</a:t>
            </a:r>
          </a:p>
        </p:txBody>
      </p:sp>
      <p:sp>
        <p:nvSpPr>
          <p:cNvPr id="5" name="Graphic 13">
            <a:extLst>
              <a:ext uri="{FF2B5EF4-FFF2-40B4-BE49-F238E27FC236}">
                <a16:creationId xmlns:a16="http://schemas.microsoft.com/office/drawing/2014/main" id="{F572943C-F323-448E-9E89-EB20C238CD1E}"/>
              </a:ext>
            </a:extLst>
          </p:cNvPr>
          <p:cNvSpPr>
            <a:spLocks noChangeAspect="1"/>
          </p:cNvSpPr>
          <p:nvPr userDrawn="1"/>
        </p:nvSpPr>
        <p:spPr>
          <a:xfrm rot="20991934">
            <a:off x="3632761" y="2218636"/>
            <a:ext cx="8831893" cy="5793514"/>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23000">
                <a:schemeClr val="accent2">
                  <a:alpha val="0"/>
                </a:schemeClr>
              </a:gs>
              <a:gs pos="39000">
                <a:srgbClr val="12ABDB"/>
              </a:gs>
              <a:gs pos="62000">
                <a:srgbClr val="12ABDB"/>
              </a:gs>
              <a:gs pos="73000">
                <a:schemeClr val="accent2"/>
              </a:gs>
            </a:gsLst>
            <a:lin ang="16200000" scaled="0"/>
          </a:gradFill>
          <a:ln w="9525" cap="flat">
            <a:noFill/>
            <a:prstDash val="solid"/>
            <a:miter/>
          </a:ln>
        </p:spPr>
        <p:txBody>
          <a:bodyPr rtlCol="0" anchor="ctr"/>
          <a:lstStyle/>
          <a:p>
            <a:endParaRPr lang="de-DE"/>
          </a:p>
        </p:txBody>
      </p:sp>
      <p:grpSp>
        <p:nvGrpSpPr>
          <p:cNvPr id="3" name="Groupe 1">
            <a:extLst>
              <a:ext uri="{FF2B5EF4-FFF2-40B4-BE49-F238E27FC236}">
                <a16:creationId xmlns:a16="http://schemas.microsoft.com/office/drawing/2014/main" id="{4DD54521-000C-ECA0-8AFE-7E15643F7616}"/>
              </a:ext>
            </a:extLst>
          </p:cNvPr>
          <p:cNvGrpSpPr/>
          <p:nvPr userDrawn="1"/>
        </p:nvGrpSpPr>
        <p:grpSpPr>
          <a:xfrm>
            <a:off x="11501102" y="171573"/>
            <a:ext cx="419436" cy="388988"/>
            <a:chOff x="11501102" y="171573"/>
            <a:chExt cx="419436" cy="388988"/>
          </a:xfrm>
        </p:grpSpPr>
        <p:sp>
          <p:nvSpPr>
            <p:cNvPr id="4" name="Freeform 13">
              <a:extLst>
                <a:ext uri="{FF2B5EF4-FFF2-40B4-BE49-F238E27FC236}">
                  <a16:creationId xmlns:a16="http://schemas.microsoft.com/office/drawing/2014/main" id="{A42A7976-18F1-1665-D378-8DE1978F67AE}"/>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 name="Freeform 14">
              <a:extLst>
                <a:ext uri="{FF2B5EF4-FFF2-40B4-BE49-F238E27FC236}">
                  <a16:creationId xmlns:a16="http://schemas.microsoft.com/office/drawing/2014/main" id="{87B28000-B93B-BBCD-DB71-C3AA55947846}"/>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0659423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Agenda">
    <p:spTree>
      <p:nvGrpSpPr>
        <p:cNvPr id="1" name=""/>
        <p:cNvGrpSpPr/>
        <p:nvPr/>
      </p:nvGrpSpPr>
      <p:grpSpPr>
        <a:xfrm>
          <a:off x="0" y="0"/>
          <a:ext cx="0" cy="0"/>
          <a:chOff x="0" y="0"/>
          <a:chExt cx="0" cy="0"/>
        </a:xfrm>
      </p:grpSpPr>
      <p:sp>
        <p:nvSpPr>
          <p:cNvPr id="4" name="Graphic 3">
            <a:extLst>
              <a:ext uri="{FF2B5EF4-FFF2-40B4-BE49-F238E27FC236}">
                <a16:creationId xmlns:a16="http://schemas.microsoft.com/office/drawing/2014/main" id="{6B886333-564A-9F50-4D21-2087D032322E}"/>
              </a:ext>
            </a:extLst>
          </p:cNvPr>
          <p:cNvSpPr/>
          <p:nvPr userDrawn="1"/>
        </p:nvSpPr>
        <p:spPr>
          <a:xfrm>
            <a:off x="4961424" y="3210830"/>
            <a:ext cx="8612170" cy="3349876"/>
          </a:xfrm>
          <a:custGeom>
            <a:avLst/>
            <a:gdLst>
              <a:gd name="connsiteX0" fmla="*/ 7439120 w 7439501"/>
              <a:gd name="connsiteY0" fmla="*/ 30480 h 2893743"/>
              <a:gd name="connsiteX1" fmla="*/ 7433310 w 7439501"/>
              <a:gd name="connsiteY1" fmla="*/ 22860 h 2893743"/>
              <a:gd name="connsiteX2" fmla="*/ 7427500 w 7439501"/>
              <a:gd name="connsiteY2" fmla="*/ 15240 h 2893743"/>
              <a:gd name="connsiteX3" fmla="*/ 7421689 w 7439501"/>
              <a:gd name="connsiteY3" fmla="*/ 7620 h 2893743"/>
              <a:gd name="connsiteX4" fmla="*/ 7415879 w 7439501"/>
              <a:gd name="connsiteY4" fmla="*/ 0 h 2893743"/>
              <a:gd name="connsiteX5" fmla="*/ 7328249 w 7439501"/>
              <a:gd name="connsiteY5" fmla="*/ 64484 h 2893743"/>
              <a:gd name="connsiteX6" fmla="*/ 7251668 w 7439501"/>
              <a:gd name="connsiteY6" fmla="*/ 119444 h 2893743"/>
              <a:gd name="connsiteX7" fmla="*/ 7185756 w 7439501"/>
              <a:gd name="connsiteY7" fmla="*/ 164402 h 2893743"/>
              <a:gd name="connsiteX8" fmla="*/ 7131558 w 7439501"/>
              <a:gd name="connsiteY8" fmla="*/ 200692 h 2893743"/>
              <a:gd name="connsiteX9" fmla="*/ 7033356 w 7439501"/>
              <a:gd name="connsiteY9" fmla="*/ 262223 h 2893743"/>
              <a:gd name="connsiteX10" fmla="*/ 6979730 w 7439501"/>
              <a:gd name="connsiteY10" fmla="*/ 293656 h 2893743"/>
              <a:gd name="connsiteX11" fmla="*/ 6925723 w 7439501"/>
              <a:gd name="connsiteY11" fmla="*/ 324422 h 2893743"/>
              <a:gd name="connsiteX12" fmla="*/ 6898767 w 7439501"/>
              <a:gd name="connsiteY12" fmla="*/ 339852 h 2893743"/>
              <a:gd name="connsiteX13" fmla="*/ 6871240 w 7439501"/>
              <a:gd name="connsiteY13" fmla="*/ 354140 h 2893743"/>
              <a:gd name="connsiteX14" fmla="*/ 6815995 w 7439501"/>
              <a:gd name="connsiteY14" fmla="*/ 382429 h 2893743"/>
              <a:gd name="connsiteX15" fmla="*/ 6760274 w 7439501"/>
              <a:gd name="connsiteY15" fmla="*/ 409766 h 2893743"/>
              <a:gd name="connsiteX16" fmla="*/ 6703790 w 7439501"/>
              <a:gd name="connsiteY16" fmla="*/ 435293 h 2893743"/>
              <a:gd name="connsiteX17" fmla="*/ 6589109 w 7439501"/>
              <a:gd name="connsiteY17" fmla="*/ 482346 h 2893743"/>
              <a:gd name="connsiteX18" fmla="*/ 6560249 w 7439501"/>
              <a:gd name="connsiteY18" fmla="*/ 493490 h 2893743"/>
              <a:gd name="connsiteX19" fmla="*/ 6530817 w 7439501"/>
              <a:gd name="connsiteY19" fmla="*/ 503111 h 2893743"/>
              <a:gd name="connsiteX20" fmla="*/ 6472047 w 7439501"/>
              <a:gd name="connsiteY20" fmla="*/ 522446 h 2893743"/>
              <a:gd name="connsiteX21" fmla="*/ 6442329 w 7439501"/>
              <a:gd name="connsiteY21" fmla="*/ 530924 h 2893743"/>
              <a:gd name="connsiteX22" fmla="*/ 6412421 w 7439501"/>
              <a:gd name="connsiteY22" fmla="*/ 538829 h 2893743"/>
              <a:gd name="connsiteX23" fmla="*/ 6382512 w 7439501"/>
              <a:gd name="connsiteY23" fmla="*/ 546735 h 2893743"/>
              <a:gd name="connsiteX24" fmla="*/ 6367558 w 7439501"/>
              <a:gd name="connsiteY24" fmla="*/ 550640 h 2893743"/>
              <a:gd name="connsiteX25" fmla="*/ 6352413 w 7439501"/>
              <a:gd name="connsiteY25" fmla="*/ 553688 h 2893743"/>
              <a:gd name="connsiteX26" fmla="*/ 6291929 w 7439501"/>
              <a:gd name="connsiteY26" fmla="*/ 565595 h 2893743"/>
              <a:gd name="connsiteX27" fmla="*/ 6276785 w 7439501"/>
              <a:gd name="connsiteY27" fmla="*/ 568547 h 2893743"/>
              <a:gd name="connsiteX28" fmla="*/ 6261545 w 7439501"/>
              <a:gd name="connsiteY28" fmla="*/ 570548 h 2893743"/>
              <a:gd name="connsiteX29" fmla="*/ 6230970 w 7439501"/>
              <a:gd name="connsiteY29" fmla="*/ 574453 h 2893743"/>
              <a:gd name="connsiteX30" fmla="*/ 6108383 w 7439501"/>
              <a:gd name="connsiteY30" fmla="*/ 584264 h 2893743"/>
              <a:gd name="connsiteX31" fmla="*/ 6047232 w 7439501"/>
              <a:gd name="connsiteY31" fmla="*/ 583216 h 2893743"/>
              <a:gd name="connsiteX32" fmla="*/ 6031992 w 7439501"/>
              <a:gd name="connsiteY32" fmla="*/ 582930 h 2893743"/>
              <a:gd name="connsiteX33" fmla="*/ 6016752 w 7439501"/>
              <a:gd name="connsiteY33" fmla="*/ 581501 h 2893743"/>
              <a:gd name="connsiteX34" fmla="*/ 5986368 w 7439501"/>
              <a:gd name="connsiteY34" fmla="*/ 578644 h 2893743"/>
              <a:gd name="connsiteX35" fmla="*/ 5955983 w 7439501"/>
              <a:gd name="connsiteY35" fmla="*/ 575501 h 2893743"/>
              <a:gd name="connsiteX36" fmla="*/ 5925979 w 7439501"/>
              <a:gd name="connsiteY36" fmla="*/ 570357 h 2893743"/>
              <a:gd name="connsiteX37" fmla="*/ 5895975 w 7439501"/>
              <a:gd name="connsiteY37" fmla="*/ 565214 h 2893743"/>
              <a:gd name="connsiteX38" fmla="*/ 5866352 w 7439501"/>
              <a:gd name="connsiteY38" fmla="*/ 557975 h 2893743"/>
              <a:gd name="connsiteX39" fmla="*/ 5642324 w 7439501"/>
              <a:gd name="connsiteY39" fmla="*/ 465773 h 2893743"/>
              <a:gd name="connsiteX40" fmla="*/ 5456397 w 7439501"/>
              <a:gd name="connsiteY40" fmla="*/ 310229 h 2893743"/>
              <a:gd name="connsiteX41" fmla="*/ 5382483 w 7439501"/>
              <a:gd name="connsiteY41" fmla="*/ 213551 h 2893743"/>
              <a:gd name="connsiteX42" fmla="*/ 5324475 w 7439501"/>
              <a:gd name="connsiteY42" fmla="*/ 107061 h 2893743"/>
              <a:gd name="connsiteX43" fmla="*/ 5316474 w 7439501"/>
              <a:gd name="connsiteY43" fmla="*/ 88202 h 2893743"/>
              <a:gd name="connsiteX44" fmla="*/ 5305235 w 7439501"/>
              <a:gd name="connsiteY44" fmla="*/ 58484 h 2893743"/>
              <a:gd name="connsiteX45" fmla="*/ 5304854 w 7439501"/>
              <a:gd name="connsiteY45" fmla="*/ 58388 h 2893743"/>
              <a:gd name="connsiteX46" fmla="*/ 5289233 w 7439501"/>
              <a:gd name="connsiteY46" fmla="*/ 55626 h 2893743"/>
              <a:gd name="connsiteX47" fmla="*/ 5281994 w 7439501"/>
              <a:gd name="connsiteY47" fmla="*/ 54388 h 2893743"/>
              <a:gd name="connsiteX48" fmla="*/ 5277898 w 7439501"/>
              <a:gd name="connsiteY48" fmla="*/ 53816 h 2893743"/>
              <a:gd name="connsiteX49" fmla="*/ 5261420 w 7439501"/>
              <a:gd name="connsiteY49" fmla="*/ 51530 h 2893743"/>
              <a:gd name="connsiteX50" fmla="*/ 5228463 w 7439501"/>
              <a:gd name="connsiteY50" fmla="*/ 47625 h 2893743"/>
              <a:gd name="connsiteX51" fmla="*/ 5195507 w 7439501"/>
              <a:gd name="connsiteY51" fmla="*/ 44577 h 2893743"/>
              <a:gd name="connsiteX52" fmla="*/ 5162550 w 7439501"/>
              <a:gd name="connsiteY52" fmla="*/ 42196 h 2893743"/>
              <a:gd name="connsiteX53" fmla="*/ 5129594 w 7439501"/>
              <a:gd name="connsiteY53" fmla="*/ 40576 h 2893743"/>
              <a:gd name="connsiteX54" fmla="*/ 5096542 w 7439501"/>
              <a:gd name="connsiteY54" fmla="*/ 39529 h 2893743"/>
              <a:gd name="connsiteX55" fmla="*/ 5030534 w 7439501"/>
              <a:gd name="connsiteY55" fmla="*/ 38957 h 2893743"/>
              <a:gd name="connsiteX56" fmla="*/ 4975956 w 7439501"/>
              <a:gd name="connsiteY56" fmla="*/ 40386 h 2893743"/>
              <a:gd name="connsiteX57" fmla="*/ 4921377 w 7439501"/>
              <a:gd name="connsiteY57" fmla="*/ 43244 h 2893743"/>
              <a:gd name="connsiteX58" fmla="*/ 4866894 w 7439501"/>
              <a:gd name="connsiteY58" fmla="*/ 47625 h 2893743"/>
              <a:gd name="connsiteX59" fmla="*/ 4812602 w 7439501"/>
              <a:gd name="connsiteY59" fmla="*/ 53435 h 2893743"/>
              <a:gd name="connsiteX60" fmla="*/ 4704588 w 7439501"/>
              <a:gd name="connsiteY60" fmla="*/ 69723 h 2893743"/>
              <a:gd name="connsiteX61" fmla="*/ 4650962 w 7439501"/>
              <a:gd name="connsiteY61" fmla="*/ 80010 h 2893743"/>
              <a:gd name="connsiteX62" fmla="*/ 4597623 w 7439501"/>
              <a:gd name="connsiteY62" fmla="*/ 91726 h 2893743"/>
              <a:gd name="connsiteX63" fmla="*/ 4544568 w 7439501"/>
              <a:gd name="connsiteY63" fmla="*/ 104775 h 2893743"/>
              <a:gd name="connsiteX64" fmla="*/ 4491990 w 7439501"/>
              <a:gd name="connsiteY64" fmla="*/ 119634 h 2893743"/>
              <a:gd name="connsiteX65" fmla="*/ 4439889 w 7439501"/>
              <a:gd name="connsiteY65" fmla="*/ 135922 h 2893743"/>
              <a:gd name="connsiteX66" fmla="*/ 4388168 w 7439501"/>
              <a:gd name="connsiteY66" fmla="*/ 153448 h 2893743"/>
              <a:gd name="connsiteX67" fmla="*/ 4336923 w 7439501"/>
              <a:gd name="connsiteY67" fmla="*/ 172403 h 2893743"/>
              <a:gd name="connsiteX68" fmla="*/ 4286441 w 7439501"/>
              <a:gd name="connsiteY68" fmla="*/ 193167 h 2893743"/>
              <a:gd name="connsiteX69" fmla="*/ 4186904 w 7439501"/>
              <a:gd name="connsiteY69" fmla="*/ 238316 h 2893743"/>
              <a:gd name="connsiteX70" fmla="*/ 4138422 w 7439501"/>
              <a:gd name="connsiteY70" fmla="*/ 263462 h 2893743"/>
              <a:gd name="connsiteX71" fmla="*/ 4090416 w 7439501"/>
              <a:gd name="connsiteY71" fmla="*/ 289560 h 2893743"/>
              <a:gd name="connsiteX72" fmla="*/ 3997071 w 7439501"/>
              <a:gd name="connsiteY72" fmla="*/ 346329 h 2893743"/>
              <a:gd name="connsiteX73" fmla="*/ 3951351 w 7439501"/>
              <a:gd name="connsiteY73" fmla="*/ 376238 h 2893743"/>
              <a:gd name="connsiteX74" fmla="*/ 3907060 w 7439501"/>
              <a:gd name="connsiteY74" fmla="*/ 408146 h 2893743"/>
              <a:gd name="connsiteX75" fmla="*/ 3820573 w 7439501"/>
              <a:gd name="connsiteY75" fmla="*/ 474917 h 2893743"/>
              <a:gd name="connsiteX76" fmla="*/ 3514439 w 7439501"/>
              <a:gd name="connsiteY76" fmla="*/ 785336 h 2893743"/>
              <a:gd name="connsiteX77" fmla="*/ 3514439 w 7439501"/>
              <a:gd name="connsiteY77" fmla="*/ 785527 h 2893743"/>
              <a:gd name="connsiteX78" fmla="*/ 3399377 w 7439501"/>
              <a:gd name="connsiteY78" fmla="*/ 944690 h 2893743"/>
              <a:gd name="connsiteX79" fmla="*/ 3295460 w 7439501"/>
              <a:gd name="connsiteY79" fmla="*/ 1110329 h 2893743"/>
              <a:gd name="connsiteX80" fmla="*/ 3196685 w 7439501"/>
              <a:gd name="connsiteY80" fmla="*/ 1278446 h 2893743"/>
              <a:gd name="connsiteX81" fmla="*/ 3098578 w 7439501"/>
              <a:gd name="connsiteY81" fmla="*/ 1446467 h 2893743"/>
              <a:gd name="connsiteX82" fmla="*/ 2997803 w 7439501"/>
              <a:gd name="connsiteY82" fmla="*/ 1612487 h 2893743"/>
              <a:gd name="connsiteX83" fmla="*/ 2891600 w 7439501"/>
              <a:gd name="connsiteY83" fmla="*/ 1774698 h 2893743"/>
              <a:gd name="connsiteX84" fmla="*/ 2654999 w 7439501"/>
              <a:gd name="connsiteY84" fmla="*/ 2080736 h 2893743"/>
              <a:gd name="connsiteX85" fmla="*/ 2521839 w 7439501"/>
              <a:gd name="connsiteY85" fmla="*/ 2220659 h 2893743"/>
              <a:gd name="connsiteX86" fmla="*/ 2377631 w 7439501"/>
              <a:gd name="connsiteY86" fmla="*/ 2348960 h 2893743"/>
              <a:gd name="connsiteX87" fmla="*/ 2222754 w 7439501"/>
              <a:gd name="connsiteY87" fmla="*/ 2463927 h 2893743"/>
              <a:gd name="connsiteX88" fmla="*/ 2057876 w 7439501"/>
              <a:gd name="connsiteY88" fmla="*/ 2564035 h 2893743"/>
              <a:gd name="connsiteX89" fmla="*/ 1329404 w 7439501"/>
              <a:gd name="connsiteY89" fmla="*/ 2810542 h 2893743"/>
              <a:gd name="connsiteX90" fmla="*/ 685800 w 7439501"/>
              <a:gd name="connsiteY90" fmla="*/ 2854833 h 2893743"/>
              <a:gd name="connsiteX91" fmla="*/ 643128 w 7439501"/>
              <a:gd name="connsiteY91" fmla="*/ 2853404 h 2893743"/>
              <a:gd name="connsiteX92" fmla="*/ 589788 w 7439501"/>
              <a:gd name="connsiteY92" fmla="*/ 2851690 h 2893743"/>
              <a:gd name="connsiteX93" fmla="*/ 515207 w 7439501"/>
              <a:gd name="connsiteY93" fmla="*/ 2847689 h 2893743"/>
              <a:gd name="connsiteX94" fmla="*/ 5715 w 7439501"/>
              <a:gd name="connsiteY94" fmla="*/ 2791873 h 2893743"/>
              <a:gd name="connsiteX95" fmla="*/ 4286 w 7439501"/>
              <a:gd name="connsiteY95" fmla="*/ 2801302 h 2893743"/>
              <a:gd name="connsiteX96" fmla="*/ 2858 w 7439501"/>
              <a:gd name="connsiteY96" fmla="*/ 2810732 h 2893743"/>
              <a:gd name="connsiteX97" fmla="*/ 1429 w 7439501"/>
              <a:gd name="connsiteY97" fmla="*/ 2820162 h 2893743"/>
              <a:gd name="connsiteX98" fmla="*/ 0 w 7439501"/>
              <a:gd name="connsiteY98" fmla="*/ 2829592 h 2893743"/>
              <a:gd name="connsiteX99" fmla="*/ 513112 w 7439501"/>
              <a:gd name="connsiteY99" fmla="*/ 2885789 h 2893743"/>
              <a:gd name="connsiteX100" fmla="*/ 588359 w 7439501"/>
              <a:gd name="connsiteY100" fmla="*/ 2889885 h 2893743"/>
              <a:gd name="connsiteX101" fmla="*/ 642176 w 7439501"/>
              <a:gd name="connsiteY101" fmla="*/ 2891695 h 2893743"/>
              <a:gd name="connsiteX102" fmla="*/ 685229 w 7439501"/>
              <a:gd name="connsiteY102" fmla="*/ 2893124 h 2893743"/>
              <a:gd name="connsiteX103" fmla="*/ 1336072 w 7439501"/>
              <a:gd name="connsiteY103" fmla="*/ 2848356 h 2893743"/>
              <a:gd name="connsiteX104" fmla="*/ 2076355 w 7439501"/>
              <a:gd name="connsiteY104" fmla="*/ 2597753 h 2893743"/>
              <a:gd name="connsiteX105" fmla="*/ 2244185 w 7439501"/>
              <a:gd name="connsiteY105" fmla="*/ 2495836 h 2893743"/>
              <a:gd name="connsiteX106" fmla="*/ 2401919 w 7439501"/>
              <a:gd name="connsiteY106" fmla="*/ 2378869 h 2893743"/>
              <a:gd name="connsiteX107" fmla="*/ 2548604 w 7439501"/>
              <a:gd name="connsiteY107" fmla="*/ 2248376 h 2893743"/>
              <a:gd name="connsiteX108" fmla="*/ 2683859 w 7439501"/>
              <a:gd name="connsiteY108" fmla="*/ 2106359 h 2893743"/>
              <a:gd name="connsiteX109" fmla="*/ 2923318 w 7439501"/>
              <a:gd name="connsiteY109" fmla="*/ 1796606 h 2893743"/>
              <a:gd name="connsiteX110" fmla="*/ 3030379 w 7439501"/>
              <a:gd name="connsiteY110" fmla="*/ 1633061 h 2893743"/>
              <a:gd name="connsiteX111" fmla="*/ 3131630 w 7439501"/>
              <a:gd name="connsiteY111" fmla="*/ 1466183 h 2893743"/>
              <a:gd name="connsiteX112" fmla="*/ 3229928 w 7439501"/>
              <a:gd name="connsiteY112" fmla="*/ 1297972 h 2893743"/>
              <a:gd name="connsiteX113" fmla="*/ 3328416 w 7439501"/>
              <a:gd name="connsiteY113" fmla="*/ 1130332 h 2893743"/>
              <a:gd name="connsiteX114" fmla="*/ 3431381 w 7439501"/>
              <a:gd name="connsiteY114" fmla="*/ 966121 h 2893743"/>
              <a:gd name="connsiteX115" fmla="*/ 3544348 w 7439501"/>
              <a:gd name="connsiteY115" fmla="*/ 809720 h 2893743"/>
              <a:gd name="connsiteX116" fmla="*/ 3544348 w 7439501"/>
              <a:gd name="connsiteY116" fmla="*/ 809530 h 2893743"/>
              <a:gd name="connsiteX117" fmla="*/ 3844957 w 7439501"/>
              <a:gd name="connsiteY117" fmla="*/ 504730 h 2893743"/>
              <a:gd name="connsiteX118" fmla="*/ 3929729 w 7439501"/>
              <a:gd name="connsiteY118" fmla="*/ 439293 h 2893743"/>
              <a:gd name="connsiteX119" fmla="*/ 3973164 w 7439501"/>
              <a:gd name="connsiteY119" fmla="*/ 407956 h 2893743"/>
              <a:gd name="connsiteX120" fmla="*/ 4017931 w 7439501"/>
              <a:gd name="connsiteY120" fmla="*/ 378619 h 2893743"/>
              <a:gd name="connsiteX121" fmla="*/ 4109466 w 7439501"/>
              <a:gd name="connsiteY121" fmla="*/ 322993 h 2893743"/>
              <a:gd name="connsiteX122" fmla="*/ 4156520 w 7439501"/>
              <a:gd name="connsiteY122" fmla="*/ 297371 h 2893743"/>
              <a:gd name="connsiteX123" fmla="*/ 4204050 w 7439501"/>
              <a:gd name="connsiteY123" fmla="*/ 272701 h 2893743"/>
              <a:gd name="connsiteX124" fmla="*/ 4301585 w 7439501"/>
              <a:gd name="connsiteY124" fmla="*/ 228409 h 2893743"/>
              <a:gd name="connsiteX125" fmla="*/ 4351116 w 7439501"/>
              <a:gd name="connsiteY125" fmla="*/ 208026 h 2893743"/>
              <a:gd name="connsiteX126" fmla="*/ 4401312 w 7439501"/>
              <a:gd name="connsiteY126" fmla="*/ 189452 h 2893743"/>
              <a:gd name="connsiteX127" fmla="*/ 4451985 w 7439501"/>
              <a:gd name="connsiteY127" fmla="*/ 172307 h 2893743"/>
              <a:gd name="connsiteX128" fmla="*/ 4503134 w 7439501"/>
              <a:gd name="connsiteY128" fmla="*/ 156305 h 2893743"/>
              <a:gd name="connsiteX129" fmla="*/ 4554665 w 7439501"/>
              <a:gd name="connsiteY129" fmla="*/ 141732 h 2893743"/>
              <a:gd name="connsiteX130" fmla="*/ 4606671 w 7439501"/>
              <a:gd name="connsiteY130" fmla="*/ 128969 h 2893743"/>
              <a:gd name="connsiteX131" fmla="*/ 4658964 w 7439501"/>
              <a:gd name="connsiteY131" fmla="*/ 117539 h 2893743"/>
              <a:gd name="connsiteX132" fmla="*/ 4711542 w 7439501"/>
              <a:gd name="connsiteY132" fmla="*/ 107442 h 2893743"/>
              <a:gd name="connsiteX133" fmla="*/ 4817459 w 7439501"/>
              <a:gd name="connsiteY133" fmla="*/ 91440 h 2893743"/>
              <a:gd name="connsiteX134" fmla="*/ 4870704 w 7439501"/>
              <a:gd name="connsiteY134" fmla="*/ 85725 h 2893743"/>
              <a:gd name="connsiteX135" fmla="*/ 4924140 w 7439501"/>
              <a:gd name="connsiteY135" fmla="*/ 81439 h 2893743"/>
              <a:gd name="connsiteX136" fmla="*/ 4977670 w 7439501"/>
              <a:gd name="connsiteY136" fmla="*/ 78581 h 2893743"/>
              <a:gd name="connsiteX137" fmla="*/ 5031201 w 7439501"/>
              <a:gd name="connsiteY137" fmla="*/ 77153 h 2893743"/>
              <a:gd name="connsiteX138" fmla="*/ 5095875 w 7439501"/>
              <a:gd name="connsiteY138" fmla="*/ 77724 h 2893743"/>
              <a:gd name="connsiteX139" fmla="*/ 5128165 w 7439501"/>
              <a:gd name="connsiteY139" fmla="*/ 78772 h 2893743"/>
              <a:gd name="connsiteX140" fmla="*/ 5160455 w 7439501"/>
              <a:gd name="connsiteY140" fmla="*/ 80391 h 2893743"/>
              <a:gd name="connsiteX141" fmla="*/ 5192649 w 7439501"/>
              <a:gd name="connsiteY141" fmla="*/ 82677 h 2893743"/>
              <a:gd name="connsiteX142" fmla="*/ 5224749 w 7439501"/>
              <a:gd name="connsiteY142" fmla="*/ 85725 h 2893743"/>
              <a:gd name="connsiteX143" fmla="*/ 5256657 w 7439501"/>
              <a:gd name="connsiteY143" fmla="*/ 89535 h 2893743"/>
              <a:gd name="connsiteX144" fmla="*/ 5272469 w 7439501"/>
              <a:gd name="connsiteY144" fmla="*/ 91726 h 2893743"/>
              <a:gd name="connsiteX145" fmla="*/ 5277612 w 7439501"/>
              <a:gd name="connsiteY145" fmla="*/ 92488 h 2893743"/>
              <a:gd name="connsiteX146" fmla="*/ 5277612 w 7439501"/>
              <a:gd name="connsiteY146" fmla="*/ 92488 h 2893743"/>
              <a:gd name="connsiteX147" fmla="*/ 5281327 w 7439501"/>
              <a:gd name="connsiteY147" fmla="*/ 102394 h 2893743"/>
              <a:gd name="connsiteX148" fmla="*/ 5289804 w 7439501"/>
              <a:gd name="connsiteY148" fmla="*/ 122587 h 2893743"/>
              <a:gd name="connsiteX149" fmla="*/ 5350859 w 7439501"/>
              <a:gd name="connsiteY149" fmla="*/ 234601 h 2893743"/>
              <a:gd name="connsiteX150" fmla="*/ 5428107 w 7439501"/>
              <a:gd name="connsiteY150" fmla="*/ 335661 h 2893743"/>
              <a:gd name="connsiteX151" fmla="*/ 5622893 w 7439501"/>
              <a:gd name="connsiteY151" fmla="*/ 498539 h 2893743"/>
              <a:gd name="connsiteX152" fmla="*/ 5857590 w 7439501"/>
              <a:gd name="connsiteY152" fmla="*/ 595217 h 2893743"/>
              <a:gd name="connsiteX153" fmla="*/ 5888546 w 7439501"/>
              <a:gd name="connsiteY153" fmla="*/ 602742 h 2893743"/>
              <a:gd name="connsiteX154" fmla="*/ 5919883 w 7439501"/>
              <a:gd name="connsiteY154" fmla="*/ 608171 h 2893743"/>
              <a:gd name="connsiteX155" fmla="*/ 5951221 w 7439501"/>
              <a:gd name="connsiteY155" fmla="*/ 613505 h 2893743"/>
              <a:gd name="connsiteX156" fmla="*/ 5982843 w 7439501"/>
              <a:gd name="connsiteY156" fmla="*/ 616744 h 2893743"/>
              <a:gd name="connsiteX157" fmla="*/ 6014466 w 7439501"/>
              <a:gd name="connsiteY157" fmla="*/ 619697 h 2893743"/>
              <a:gd name="connsiteX158" fmla="*/ 6030278 w 7439501"/>
              <a:gd name="connsiteY158" fmla="*/ 621125 h 2893743"/>
              <a:gd name="connsiteX159" fmla="*/ 6046089 w 7439501"/>
              <a:gd name="connsiteY159" fmla="*/ 621411 h 2893743"/>
              <a:gd name="connsiteX160" fmla="*/ 6109526 w 7439501"/>
              <a:gd name="connsiteY160" fmla="*/ 622459 h 2893743"/>
              <a:gd name="connsiteX161" fmla="*/ 6236113 w 7439501"/>
              <a:gd name="connsiteY161" fmla="*/ 612362 h 2893743"/>
              <a:gd name="connsiteX162" fmla="*/ 6267545 w 7439501"/>
              <a:gd name="connsiteY162" fmla="*/ 608362 h 2893743"/>
              <a:gd name="connsiteX163" fmla="*/ 6283262 w 7439501"/>
              <a:gd name="connsiteY163" fmla="*/ 606266 h 2893743"/>
              <a:gd name="connsiteX164" fmla="*/ 6298788 w 7439501"/>
              <a:gd name="connsiteY164" fmla="*/ 603218 h 2893743"/>
              <a:gd name="connsiteX165" fmla="*/ 6360986 w 7439501"/>
              <a:gd name="connsiteY165" fmla="*/ 591026 h 2893743"/>
              <a:gd name="connsiteX166" fmla="*/ 6376511 w 7439501"/>
              <a:gd name="connsiteY166" fmla="*/ 587883 h 2893743"/>
              <a:gd name="connsiteX167" fmla="*/ 6391847 w 7439501"/>
              <a:gd name="connsiteY167" fmla="*/ 583883 h 2893743"/>
              <a:gd name="connsiteX168" fmla="*/ 6422422 w 7439501"/>
              <a:gd name="connsiteY168" fmla="*/ 575882 h 2893743"/>
              <a:gd name="connsiteX169" fmla="*/ 6452997 w 7439501"/>
              <a:gd name="connsiteY169" fmla="*/ 567785 h 2893743"/>
              <a:gd name="connsiteX170" fmla="*/ 6483382 w 7439501"/>
              <a:gd name="connsiteY170" fmla="*/ 559118 h 2893743"/>
              <a:gd name="connsiteX171" fmla="*/ 6543390 w 7439501"/>
              <a:gd name="connsiteY171" fmla="*/ 539401 h 2893743"/>
              <a:gd name="connsiteX172" fmla="*/ 6573393 w 7439501"/>
              <a:gd name="connsiteY172" fmla="*/ 529590 h 2893743"/>
              <a:gd name="connsiteX173" fmla="*/ 6602826 w 7439501"/>
              <a:gd name="connsiteY173" fmla="*/ 518255 h 2893743"/>
              <a:gd name="connsiteX174" fmla="*/ 6719507 w 7439501"/>
              <a:gd name="connsiteY174" fmla="*/ 470440 h 2893743"/>
              <a:gd name="connsiteX175" fmla="*/ 6776943 w 7439501"/>
              <a:gd name="connsiteY175" fmla="*/ 444437 h 2893743"/>
              <a:gd name="connsiteX176" fmla="*/ 6833426 w 7439501"/>
              <a:gd name="connsiteY176" fmla="*/ 416719 h 2893743"/>
              <a:gd name="connsiteX177" fmla="*/ 6889433 w 7439501"/>
              <a:gd name="connsiteY177" fmla="*/ 388049 h 2893743"/>
              <a:gd name="connsiteX178" fmla="*/ 6917341 w 7439501"/>
              <a:gd name="connsiteY178" fmla="*/ 373571 h 2893743"/>
              <a:gd name="connsiteX179" fmla="*/ 6944678 w 7439501"/>
              <a:gd name="connsiteY179" fmla="*/ 358045 h 2893743"/>
              <a:gd name="connsiteX180" fmla="*/ 6999256 w 7439501"/>
              <a:gd name="connsiteY180" fmla="*/ 326898 h 2893743"/>
              <a:gd name="connsiteX181" fmla="*/ 7053453 w 7439501"/>
              <a:gd name="connsiteY181" fmla="*/ 295085 h 2893743"/>
              <a:gd name="connsiteX182" fmla="*/ 7152704 w 7439501"/>
              <a:gd name="connsiteY182" fmla="*/ 232886 h 2893743"/>
              <a:gd name="connsiteX183" fmla="*/ 7207472 w 7439501"/>
              <a:gd name="connsiteY183" fmla="*/ 196310 h 2893743"/>
              <a:gd name="connsiteX184" fmla="*/ 7273957 w 7439501"/>
              <a:gd name="connsiteY184" fmla="*/ 150971 h 2893743"/>
              <a:gd name="connsiteX185" fmla="*/ 7351205 w 7439501"/>
              <a:gd name="connsiteY185" fmla="*/ 95631 h 2893743"/>
              <a:gd name="connsiteX186" fmla="*/ 7439502 w 7439501"/>
              <a:gd name="connsiteY186" fmla="*/ 30671 h 2893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7439501" h="2893743">
                <a:moveTo>
                  <a:pt x="7439120" y="30480"/>
                </a:moveTo>
                <a:lnTo>
                  <a:pt x="7433310" y="22860"/>
                </a:lnTo>
                <a:lnTo>
                  <a:pt x="7427500" y="15240"/>
                </a:lnTo>
                <a:lnTo>
                  <a:pt x="7421689" y="7620"/>
                </a:lnTo>
                <a:lnTo>
                  <a:pt x="7415879" y="0"/>
                </a:lnTo>
                <a:cubicBezTo>
                  <a:pt x="7384733" y="22955"/>
                  <a:pt x="7355491" y="44387"/>
                  <a:pt x="7328249" y="64484"/>
                </a:cubicBezTo>
                <a:cubicBezTo>
                  <a:pt x="7300913" y="84487"/>
                  <a:pt x="7275862" y="103537"/>
                  <a:pt x="7251668" y="119444"/>
                </a:cubicBezTo>
                <a:cubicBezTo>
                  <a:pt x="7227665" y="135731"/>
                  <a:pt x="7205758" y="150781"/>
                  <a:pt x="7185756" y="164402"/>
                </a:cubicBezTo>
                <a:cubicBezTo>
                  <a:pt x="7165658" y="177832"/>
                  <a:pt x="7148132" y="190691"/>
                  <a:pt x="7131558" y="200692"/>
                </a:cubicBezTo>
                <a:cubicBezTo>
                  <a:pt x="7066122" y="241745"/>
                  <a:pt x="7033356" y="262223"/>
                  <a:pt x="7033356" y="262223"/>
                </a:cubicBezTo>
                <a:cubicBezTo>
                  <a:pt x="7016020" y="273558"/>
                  <a:pt x="6997637" y="283274"/>
                  <a:pt x="6979730" y="293656"/>
                </a:cubicBezTo>
                <a:cubicBezTo>
                  <a:pt x="6961727" y="303943"/>
                  <a:pt x="6943725" y="314135"/>
                  <a:pt x="6925723" y="324422"/>
                </a:cubicBezTo>
                <a:lnTo>
                  <a:pt x="6898767" y="339852"/>
                </a:lnTo>
                <a:cubicBezTo>
                  <a:pt x="6889718" y="344805"/>
                  <a:pt x="6880384" y="349377"/>
                  <a:pt x="6871240" y="354140"/>
                </a:cubicBezTo>
                <a:cubicBezTo>
                  <a:pt x="6852857" y="363569"/>
                  <a:pt x="6834378" y="372999"/>
                  <a:pt x="6815995" y="382429"/>
                </a:cubicBezTo>
                <a:cubicBezTo>
                  <a:pt x="6797517" y="391763"/>
                  <a:pt x="6779324" y="401669"/>
                  <a:pt x="6760274" y="409766"/>
                </a:cubicBezTo>
                <a:lnTo>
                  <a:pt x="6703790" y="435293"/>
                </a:lnTo>
                <a:cubicBezTo>
                  <a:pt x="6666452" y="453295"/>
                  <a:pt x="6627496" y="466916"/>
                  <a:pt x="6589109" y="482346"/>
                </a:cubicBezTo>
                <a:cubicBezTo>
                  <a:pt x="6579489" y="486061"/>
                  <a:pt x="6569964" y="490061"/>
                  <a:pt x="6560249" y="493490"/>
                </a:cubicBezTo>
                <a:lnTo>
                  <a:pt x="6530817" y="503111"/>
                </a:lnTo>
                <a:lnTo>
                  <a:pt x="6472047" y="522446"/>
                </a:lnTo>
                <a:cubicBezTo>
                  <a:pt x="6462332" y="525971"/>
                  <a:pt x="6452235" y="528257"/>
                  <a:pt x="6442329" y="530924"/>
                </a:cubicBezTo>
                <a:lnTo>
                  <a:pt x="6412421" y="538829"/>
                </a:lnTo>
                <a:lnTo>
                  <a:pt x="6382512" y="546735"/>
                </a:lnTo>
                <a:lnTo>
                  <a:pt x="6367558" y="550640"/>
                </a:lnTo>
                <a:cubicBezTo>
                  <a:pt x="6362510" y="551783"/>
                  <a:pt x="6357461" y="552641"/>
                  <a:pt x="6352413" y="553688"/>
                </a:cubicBezTo>
                <a:lnTo>
                  <a:pt x="6291929" y="565595"/>
                </a:lnTo>
                <a:lnTo>
                  <a:pt x="6276785" y="568547"/>
                </a:lnTo>
                <a:cubicBezTo>
                  <a:pt x="6271736" y="569309"/>
                  <a:pt x="6266593" y="569881"/>
                  <a:pt x="6261545" y="570548"/>
                </a:cubicBezTo>
                <a:lnTo>
                  <a:pt x="6230970" y="574453"/>
                </a:lnTo>
                <a:cubicBezTo>
                  <a:pt x="6190298" y="580930"/>
                  <a:pt x="6149340" y="581692"/>
                  <a:pt x="6108383" y="584264"/>
                </a:cubicBezTo>
                <a:lnTo>
                  <a:pt x="6047232" y="583216"/>
                </a:lnTo>
                <a:lnTo>
                  <a:pt x="6031992" y="582930"/>
                </a:lnTo>
                <a:lnTo>
                  <a:pt x="6016752" y="581501"/>
                </a:lnTo>
                <a:lnTo>
                  <a:pt x="5986368" y="578644"/>
                </a:lnTo>
                <a:cubicBezTo>
                  <a:pt x="5976271" y="577596"/>
                  <a:pt x="5966079" y="577025"/>
                  <a:pt x="5955983" y="575501"/>
                </a:cubicBezTo>
                <a:lnTo>
                  <a:pt x="5925979" y="570357"/>
                </a:lnTo>
                <a:lnTo>
                  <a:pt x="5895975" y="565214"/>
                </a:lnTo>
                <a:cubicBezTo>
                  <a:pt x="5885974" y="563309"/>
                  <a:pt x="5876258" y="560356"/>
                  <a:pt x="5866352" y="557975"/>
                </a:cubicBezTo>
                <a:cubicBezTo>
                  <a:pt x="5787486" y="538829"/>
                  <a:pt x="5711571" y="507778"/>
                  <a:pt x="5642324" y="465773"/>
                </a:cubicBezTo>
                <a:cubicBezTo>
                  <a:pt x="5573078" y="423672"/>
                  <a:pt x="5510022" y="371285"/>
                  <a:pt x="5456397" y="310229"/>
                </a:cubicBezTo>
                <a:cubicBezTo>
                  <a:pt x="5429536" y="279749"/>
                  <a:pt x="5404961" y="247364"/>
                  <a:pt x="5382483" y="213551"/>
                </a:cubicBezTo>
                <a:cubicBezTo>
                  <a:pt x="5360575" y="179451"/>
                  <a:pt x="5340668" y="143923"/>
                  <a:pt x="5324475" y="107061"/>
                </a:cubicBezTo>
                <a:cubicBezTo>
                  <a:pt x="5321808" y="100775"/>
                  <a:pt x="5318760" y="94583"/>
                  <a:pt x="5316474" y="88202"/>
                </a:cubicBezTo>
                <a:lnTo>
                  <a:pt x="5305235" y="58484"/>
                </a:lnTo>
                <a:cubicBezTo>
                  <a:pt x="5305235" y="58484"/>
                  <a:pt x="5305044" y="58484"/>
                  <a:pt x="5304854" y="58388"/>
                </a:cubicBezTo>
                <a:lnTo>
                  <a:pt x="5289233" y="55626"/>
                </a:lnTo>
                <a:lnTo>
                  <a:pt x="5281994" y="54388"/>
                </a:lnTo>
                <a:lnTo>
                  <a:pt x="5277898" y="53816"/>
                </a:lnTo>
                <a:lnTo>
                  <a:pt x="5261420" y="51530"/>
                </a:lnTo>
                <a:cubicBezTo>
                  <a:pt x="5250466" y="50006"/>
                  <a:pt x="5239417" y="48863"/>
                  <a:pt x="5228463" y="47625"/>
                </a:cubicBezTo>
                <a:cubicBezTo>
                  <a:pt x="5217509" y="46387"/>
                  <a:pt x="5206461" y="45530"/>
                  <a:pt x="5195507" y="44577"/>
                </a:cubicBezTo>
                <a:lnTo>
                  <a:pt x="5162550" y="42196"/>
                </a:lnTo>
                <a:lnTo>
                  <a:pt x="5129594" y="40576"/>
                </a:lnTo>
                <a:cubicBezTo>
                  <a:pt x="5118640" y="39910"/>
                  <a:pt x="5107591" y="39910"/>
                  <a:pt x="5096542" y="39529"/>
                </a:cubicBezTo>
                <a:cubicBezTo>
                  <a:pt x="5074539" y="38767"/>
                  <a:pt x="5052536" y="39148"/>
                  <a:pt x="5030534" y="38957"/>
                </a:cubicBezTo>
                <a:lnTo>
                  <a:pt x="4975956" y="40386"/>
                </a:lnTo>
                <a:cubicBezTo>
                  <a:pt x="4957763" y="41339"/>
                  <a:pt x="4939570" y="42101"/>
                  <a:pt x="4921377" y="43244"/>
                </a:cubicBezTo>
                <a:lnTo>
                  <a:pt x="4866894" y="47625"/>
                </a:lnTo>
                <a:lnTo>
                  <a:pt x="4812602" y="53435"/>
                </a:lnTo>
                <a:cubicBezTo>
                  <a:pt x="4776502" y="58198"/>
                  <a:pt x="4740402" y="63151"/>
                  <a:pt x="4704588" y="69723"/>
                </a:cubicBezTo>
                <a:cubicBezTo>
                  <a:pt x="4686586" y="72581"/>
                  <a:pt x="4668774" y="76295"/>
                  <a:pt x="4650962" y="80010"/>
                </a:cubicBezTo>
                <a:cubicBezTo>
                  <a:pt x="4633151" y="83725"/>
                  <a:pt x="4615244" y="87154"/>
                  <a:pt x="4597623" y="91726"/>
                </a:cubicBezTo>
                <a:lnTo>
                  <a:pt x="4544568" y="104775"/>
                </a:lnTo>
                <a:lnTo>
                  <a:pt x="4491990" y="119634"/>
                </a:lnTo>
                <a:cubicBezTo>
                  <a:pt x="4474369" y="124301"/>
                  <a:pt x="4457224" y="130397"/>
                  <a:pt x="4439889" y="135922"/>
                </a:cubicBezTo>
                <a:cubicBezTo>
                  <a:pt x="4422648" y="141732"/>
                  <a:pt x="4405122" y="146780"/>
                  <a:pt x="4388168" y="153448"/>
                </a:cubicBezTo>
                <a:cubicBezTo>
                  <a:pt x="4371118" y="159734"/>
                  <a:pt x="4353973" y="166116"/>
                  <a:pt x="4336923" y="172403"/>
                </a:cubicBezTo>
                <a:cubicBezTo>
                  <a:pt x="4319874" y="178880"/>
                  <a:pt x="4303300" y="186309"/>
                  <a:pt x="4286441" y="193167"/>
                </a:cubicBezTo>
                <a:cubicBezTo>
                  <a:pt x="4252532" y="206597"/>
                  <a:pt x="4220051" y="223171"/>
                  <a:pt x="4186904" y="238316"/>
                </a:cubicBezTo>
                <a:cubicBezTo>
                  <a:pt x="4170522" y="246221"/>
                  <a:pt x="4154615" y="255080"/>
                  <a:pt x="4138422" y="263462"/>
                </a:cubicBezTo>
                <a:cubicBezTo>
                  <a:pt x="4122325" y="272034"/>
                  <a:pt x="4105942" y="280035"/>
                  <a:pt x="4090416" y="289560"/>
                </a:cubicBezTo>
                <a:cubicBezTo>
                  <a:pt x="4058984" y="308039"/>
                  <a:pt x="4027170" y="325850"/>
                  <a:pt x="3997071" y="346329"/>
                </a:cubicBezTo>
                <a:cubicBezTo>
                  <a:pt x="3981831" y="356330"/>
                  <a:pt x="3966401" y="366046"/>
                  <a:pt x="3951351" y="376238"/>
                </a:cubicBezTo>
                <a:cubicBezTo>
                  <a:pt x="3936587" y="386906"/>
                  <a:pt x="3921824" y="397478"/>
                  <a:pt x="3907060" y="408146"/>
                </a:cubicBezTo>
                <a:cubicBezTo>
                  <a:pt x="3877056" y="428816"/>
                  <a:pt x="3849243" y="452438"/>
                  <a:pt x="3820573" y="474917"/>
                </a:cubicBezTo>
                <a:cubicBezTo>
                  <a:pt x="3707702" y="567023"/>
                  <a:pt x="3605308" y="671703"/>
                  <a:pt x="3514439" y="785336"/>
                </a:cubicBezTo>
                <a:lnTo>
                  <a:pt x="3514439" y="785527"/>
                </a:lnTo>
                <a:cubicBezTo>
                  <a:pt x="3473291" y="836866"/>
                  <a:pt x="3435477" y="890302"/>
                  <a:pt x="3399377" y="944690"/>
                </a:cubicBezTo>
                <a:cubicBezTo>
                  <a:pt x="3363278" y="999173"/>
                  <a:pt x="3328988" y="1054608"/>
                  <a:pt x="3295460" y="1110329"/>
                </a:cubicBezTo>
                <a:cubicBezTo>
                  <a:pt x="3261932" y="1166146"/>
                  <a:pt x="3229261" y="1222248"/>
                  <a:pt x="3196685" y="1278446"/>
                </a:cubicBezTo>
                <a:cubicBezTo>
                  <a:pt x="3164015" y="1334453"/>
                  <a:pt x="3131249" y="1390460"/>
                  <a:pt x="3098578" y="1446467"/>
                </a:cubicBezTo>
                <a:cubicBezTo>
                  <a:pt x="3065526" y="1502188"/>
                  <a:pt x="3032189" y="1557719"/>
                  <a:pt x="2997803" y="1612487"/>
                </a:cubicBezTo>
                <a:cubicBezTo>
                  <a:pt x="2963418" y="1667256"/>
                  <a:pt x="2928080" y="1721453"/>
                  <a:pt x="2891600" y="1774698"/>
                </a:cubicBezTo>
                <a:cubicBezTo>
                  <a:pt x="2818733" y="1881378"/>
                  <a:pt x="2740247" y="1984058"/>
                  <a:pt x="2654999" y="2080736"/>
                </a:cubicBezTo>
                <a:cubicBezTo>
                  <a:pt x="2612231" y="2128933"/>
                  <a:pt x="2567845" y="2175701"/>
                  <a:pt x="2521839" y="2220659"/>
                </a:cubicBezTo>
                <a:cubicBezTo>
                  <a:pt x="2475452" y="2265331"/>
                  <a:pt x="2427351" y="2308098"/>
                  <a:pt x="2377631" y="2348960"/>
                </a:cubicBezTo>
                <a:cubicBezTo>
                  <a:pt x="2327720" y="2389537"/>
                  <a:pt x="2275808" y="2427637"/>
                  <a:pt x="2222754" y="2463927"/>
                </a:cubicBezTo>
                <a:cubicBezTo>
                  <a:pt x="2169224" y="2499646"/>
                  <a:pt x="2114264" y="2532983"/>
                  <a:pt x="2057876" y="2564035"/>
                </a:cubicBezTo>
                <a:cubicBezTo>
                  <a:pt x="1831848" y="2687288"/>
                  <a:pt x="1583436" y="2767108"/>
                  <a:pt x="1329404" y="2810542"/>
                </a:cubicBezTo>
                <a:cubicBezTo>
                  <a:pt x="1117283" y="2847308"/>
                  <a:pt x="901160" y="2858357"/>
                  <a:pt x="685800" y="2854833"/>
                </a:cubicBezTo>
                <a:lnTo>
                  <a:pt x="643128" y="2853404"/>
                </a:lnTo>
                <a:lnTo>
                  <a:pt x="589788" y="2851690"/>
                </a:lnTo>
                <a:cubicBezTo>
                  <a:pt x="568452" y="2850928"/>
                  <a:pt x="543592" y="2849213"/>
                  <a:pt x="515207" y="2847689"/>
                </a:cubicBezTo>
                <a:cubicBezTo>
                  <a:pt x="401574" y="2840927"/>
                  <a:pt x="231077" y="2826544"/>
                  <a:pt x="5715" y="2791873"/>
                </a:cubicBezTo>
                <a:lnTo>
                  <a:pt x="4286" y="2801302"/>
                </a:lnTo>
                <a:lnTo>
                  <a:pt x="2858" y="2810732"/>
                </a:lnTo>
                <a:lnTo>
                  <a:pt x="1429" y="2820162"/>
                </a:lnTo>
                <a:lnTo>
                  <a:pt x="0" y="2829592"/>
                </a:lnTo>
                <a:cubicBezTo>
                  <a:pt x="226790" y="2864549"/>
                  <a:pt x="398621" y="2879027"/>
                  <a:pt x="513112" y="2885789"/>
                </a:cubicBezTo>
                <a:cubicBezTo>
                  <a:pt x="541782" y="2887313"/>
                  <a:pt x="566833" y="2889123"/>
                  <a:pt x="588359" y="2889885"/>
                </a:cubicBezTo>
                <a:lnTo>
                  <a:pt x="642176" y="2891695"/>
                </a:lnTo>
                <a:lnTo>
                  <a:pt x="685229" y="2893124"/>
                </a:lnTo>
                <a:cubicBezTo>
                  <a:pt x="902684" y="2896648"/>
                  <a:pt x="1121093" y="2885599"/>
                  <a:pt x="1336072" y="2848356"/>
                </a:cubicBezTo>
                <a:cubicBezTo>
                  <a:pt x="1593533" y="2804446"/>
                  <a:pt x="1846136" y="2723293"/>
                  <a:pt x="2076355" y="2597753"/>
                </a:cubicBezTo>
                <a:cubicBezTo>
                  <a:pt x="2133695" y="2566131"/>
                  <a:pt x="2189798" y="2532126"/>
                  <a:pt x="2244185" y="2495836"/>
                </a:cubicBezTo>
                <a:cubicBezTo>
                  <a:pt x="2298287" y="2458974"/>
                  <a:pt x="2351056" y="2420112"/>
                  <a:pt x="2401919" y="2378869"/>
                </a:cubicBezTo>
                <a:cubicBezTo>
                  <a:pt x="2452497" y="2337340"/>
                  <a:pt x="2501456" y="2293811"/>
                  <a:pt x="2548604" y="2248376"/>
                </a:cubicBezTo>
                <a:cubicBezTo>
                  <a:pt x="2595467" y="2202656"/>
                  <a:pt x="2640521" y="2155222"/>
                  <a:pt x="2683859" y="2106359"/>
                </a:cubicBezTo>
                <a:cubicBezTo>
                  <a:pt x="2770251" y="2008251"/>
                  <a:pt x="2849690" y="1904238"/>
                  <a:pt x="2923318" y="1796606"/>
                </a:cubicBezTo>
                <a:cubicBezTo>
                  <a:pt x="2960180" y="1742789"/>
                  <a:pt x="2995803" y="1688211"/>
                  <a:pt x="3030379" y="1633061"/>
                </a:cubicBezTo>
                <a:cubicBezTo>
                  <a:pt x="3064955" y="1577912"/>
                  <a:pt x="3098578" y="1522190"/>
                  <a:pt x="3131630" y="1466183"/>
                </a:cubicBezTo>
                <a:cubicBezTo>
                  <a:pt x="3164396" y="1410081"/>
                  <a:pt x="3197162" y="1353979"/>
                  <a:pt x="3229928" y="1297972"/>
                </a:cubicBezTo>
                <a:cubicBezTo>
                  <a:pt x="3262503" y="1241870"/>
                  <a:pt x="3295174" y="1185863"/>
                  <a:pt x="3328416" y="1130332"/>
                </a:cubicBezTo>
                <a:cubicBezTo>
                  <a:pt x="3361754" y="1074896"/>
                  <a:pt x="3395758" y="1019842"/>
                  <a:pt x="3431381" y="966121"/>
                </a:cubicBezTo>
                <a:cubicBezTo>
                  <a:pt x="3467005" y="912400"/>
                  <a:pt x="3504248" y="859822"/>
                  <a:pt x="3544348" y="809720"/>
                </a:cubicBezTo>
                <a:lnTo>
                  <a:pt x="3544348" y="809530"/>
                </a:lnTo>
                <a:cubicBezTo>
                  <a:pt x="3633788" y="697802"/>
                  <a:pt x="3734372" y="595122"/>
                  <a:pt x="3844957" y="504730"/>
                </a:cubicBezTo>
                <a:cubicBezTo>
                  <a:pt x="3873056" y="482727"/>
                  <a:pt x="3900297" y="459486"/>
                  <a:pt x="3929729" y="439293"/>
                </a:cubicBezTo>
                <a:cubicBezTo>
                  <a:pt x="3944207" y="428816"/>
                  <a:pt x="3958685" y="418433"/>
                  <a:pt x="3973164" y="407956"/>
                </a:cubicBezTo>
                <a:cubicBezTo>
                  <a:pt x="3987927" y="397954"/>
                  <a:pt x="4003072" y="388429"/>
                  <a:pt x="4017931" y="378619"/>
                </a:cubicBezTo>
                <a:cubicBezTo>
                  <a:pt x="4047458" y="358521"/>
                  <a:pt x="4078700" y="341090"/>
                  <a:pt x="4109466" y="322993"/>
                </a:cubicBezTo>
                <a:cubicBezTo>
                  <a:pt x="4124706" y="313658"/>
                  <a:pt x="4140708" y="305848"/>
                  <a:pt x="4156520" y="297371"/>
                </a:cubicBezTo>
                <a:cubicBezTo>
                  <a:pt x="4172331" y="289179"/>
                  <a:pt x="4187952" y="280511"/>
                  <a:pt x="4204050" y="272701"/>
                </a:cubicBezTo>
                <a:cubicBezTo>
                  <a:pt x="4236530" y="257842"/>
                  <a:pt x="4268343" y="241554"/>
                  <a:pt x="4301585" y="228409"/>
                </a:cubicBezTo>
                <a:cubicBezTo>
                  <a:pt x="4318064" y="221647"/>
                  <a:pt x="4334447" y="214408"/>
                  <a:pt x="4351116" y="208026"/>
                </a:cubicBezTo>
                <a:cubicBezTo>
                  <a:pt x="4367879" y="201835"/>
                  <a:pt x="4384643" y="195644"/>
                  <a:pt x="4401312" y="189452"/>
                </a:cubicBezTo>
                <a:cubicBezTo>
                  <a:pt x="4417981" y="182975"/>
                  <a:pt x="4435126" y="177927"/>
                  <a:pt x="4451985" y="172307"/>
                </a:cubicBezTo>
                <a:cubicBezTo>
                  <a:pt x="4469035" y="166878"/>
                  <a:pt x="4485799" y="160877"/>
                  <a:pt x="4503134" y="156305"/>
                </a:cubicBezTo>
                <a:lnTo>
                  <a:pt x="4554665" y="141732"/>
                </a:lnTo>
                <a:lnTo>
                  <a:pt x="4606671" y="128969"/>
                </a:lnTo>
                <a:cubicBezTo>
                  <a:pt x="4623911" y="124492"/>
                  <a:pt x="4641533" y="121158"/>
                  <a:pt x="4658964" y="117539"/>
                </a:cubicBezTo>
                <a:cubicBezTo>
                  <a:pt x="4676394" y="113824"/>
                  <a:pt x="4693920" y="110204"/>
                  <a:pt x="4711542" y="107442"/>
                </a:cubicBezTo>
                <a:cubicBezTo>
                  <a:pt x="4746689" y="100965"/>
                  <a:pt x="4782026" y="96107"/>
                  <a:pt x="4817459" y="91440"/>
                </a:cubicBezTo>
                <a:lnTo>
                  <a:pt x="4870704" y="85725"/>
                </a:lnTo>
                <a:lnTo>
                  <a:pt x="4924140" y="81439"/>
                </a:lnTo>
                <a:cubicBezTo>
                  <a:pt x="4941951" y="80296"/>
                  <a:pt x="4959763" y="79534"/>
                  <a:pt x="4977670" y="78581"/>
                </a:cubicBezTo>
                <a:lnTo>
                  <a:pt x="5031201" y="77153"/>
                </a:lnTo>
                <a:cubicBezTo>
                  <a:pt x="5052727" y="77248"/>
                  <a:pt x="5074349" y="76867"/>
                  <a:pt x="5095875" y="77724"/>
                </a:cubicBezTo>
                <a:cubicBezTo>
                  <a:pt x="5106638" y="78010"/>
                  <a:pt x="5117402" y="78105"/>
                  <a:pt x="5128165" y="78772"/>
                </a:cubicBezTo>
                <a:lnTo>
                  <a:pt x="5160455" y="80391"/>
                </a:lnTo>
                <a:lnTo>
                  <a:pt x="5192649" y="82677"/>
                </a:lnTo>
                <a:cubicBezTo>
                  <a:pt x="5203317" y="83725"/>
                  <a:pt x="5214081" y="84487"/>
                  <a:pt x="5224749" y="85725"/>
                </a:cubicBezTo>
                <a:cubicBezTo>
                  <a:pt x="5235417" y="86868"/>
                  <a:pt x="5246084" y="88011"/>
                  <a:pt x="5256657" y="89535"/>
                </a:cubicBezTo>
                <a:lnTo>
                  <a:pt x="5272469" y="91726"/>
                </a:lnTo>
                <a:lnTo>
                  <a:pt x="5277612" y="92488"/>
                </a:lnTo>
                <a:lnTo>
                  <a:pt x="5277612" y="92488"/>
                </a:lnTo>
                <a:cubicBezTo>
                  <a:pt x="5278851" y="95726"/>
                  <a:pt x="5280089" y="99060"/>
                  <a:pt x="5281327" y="102394"/>
                </a:cubicBezTo>
                <a:cubicBezTo>
                  <a:pt x="5283804" y="109347"/>
                  <a:pt x="5287042" y="115824"/>
                  <a:pt x="5289804" y="122587"/>
                </a:cubicBezTo>
                <a:cubicBezTo>
                  <a:pt x="5307045" y="161734"/>
                  <a:pt x="5327904" y="198882"/>
                  <a:pt x="5350859" y="234601"/>
                </a:cubicBezTo>
                <a:cubicBezTo>
                  <a:pt x="5374387" y="269939"/>
                  <a:pt x="5400008" y="303848"/>
                  <a:pt x="5428107" y="335661"/>
                </a:cubicBezTo>
                <a:cubicBezTo>
                  <a:pt x="5484209" y="399383"/>
                  <a:pt x="5550313" y="454343"/>
                  <a:pt x="5622893" y="498539"/>
                </a:cubicBezTo>
                <a:cubicBezTo>
                  <a:pt x="5695569" y="542639"/>
                  <a:pt x="5775198" y="575120"/>
                  <a:pt x="5857590" y="595217"/>
                </a:cubicBezTo>
                <a:cubicBezTo>
                  <a:pt x="5867877" y="597694"/>
                  <a:pt x="5878068" y="600742"/>
                  <a:pt x="5888546" y="602742"/>
                </a:cubicBezTo>
                <a:lnTo>
                  <a:pt x="5919883" y="608171"/>
                </a:lnTo>
                <a:lnTo>
                  <a:pt x="5951221" y="613505"/>
                </a:lnTo>
                <a:cubicBezTo>
                  <a:pt x="5961698" y="615125"/>
                  <a:pt x="5972270" y="615696"/>
                  <a:pt x="5982843" y="616744"/>
                </a:cubicBezTo>
                <a:lnTo>
                  <a:pt x="6014466" y="619697"/>
                </a:lnTo>
                <a:lnTo>
                  <a:pt x="6030278" y="621125"/>
                </a:lnTo>
                <a:lnTo>
                  <a:pt x="6046089" y="621411"/>
                </a:lnTo>
                <a:lnTo>
                  <a:pt x="6109526" y="622459"/>
                </a:lnTo>
                <a:cubicBezTo>
                  <a:pt x="6151817" y="619792"/>
                  <a:pt x="6194298" y="618935"/>
                  <a:pt x="6236113" y="612362"/>
                </a:cubicBezTo>
                <a:lnTo>
                  <a:pt x="6267545" y="608362"/>
                </a:lnTo>
                <a:cubicBezTo>
                  <a:pt x="6272784" y="607695"/>
                  <a:pt x="6278023" y="607124"/>
                  <a:pt x="6283262" y="606266"/>
                </a:cubicBezTo>
                <a:lnTo>
                  <a:pt x="6298788" y="603218"/>
                </a:lnTo>
                <a:lnTo>
                  <a:pt x="6360986" y="591026"/>
                </a:lnTo>
                <a:cubicBezTo>
                  <a:pt x="6366129" y="589979"/>
                  <a:pt x="6371368" y="589026"/>
                  <a:pt x="6376511" y="587883"/>
                </a:cubicBezTo>
                <a:lnTo>
                  <a:pt x="6391847" y="583883"/>
                </a:lnTo>
                <a:lnTo>
                  <a:pt x="6422422" y="575882"/>
                </a:lnTo>
                <a:lnTo>
                  <a:pt x="6452997" y="567785"/>
                </a:lnTo>
                <a:cubicBezTo>
                  <a:pt x="6463189" y="565023"/>
                  <a:pt x="6473476" y="562642"/>
                  <a:pt x="6483382" y="559118"/>
                </a:cubicBezTo>
                <a:cubicBezTo>
                  <a:pt x="6503384" y="552545"/>
                  <a:pt x="6523387" y="545973"/>
                  <a:pt x="6543390" y="539401"/>
                </a:cubicBezTo>
                <a:lnTo>
                  <a:pt x="6573393" y="529590"/>
                </a:lnTo>
                <a:cubicBezTo>
                  <a:pt x="6583299" y="526066"/>
                  <a:pt x="6593014" y="521970"/>
                  <a:pt x="6602826" y="518255"/>
                </a:cubicBezTo>
                <a:cubicBezTo>
                  <a:pt x="6641878" y="502634"/>
                  <a:pt x="6681597" y="488633"/>
                  <a:pt x="6719507" y="470440"/>
                </a:cubicBezTo>
                <a:cubicBezTo>
                  <a:pt x="6738652" y="461772"/>
                  <a:pt x="6757797" y="453104"/>
                  <a:pt x="6776943" y="444437"/>
                </a:cubicBezTo>
                <a:cubicBezTo>
                  <a:pt x="6796278" y="436150"/>
                  <a:pt x="6814757" y="426149"/>
                  <a:pt x="6833426" y="416719"/>
                </a:cubicBezTo>
                <a:cubicBezTo>
                  <a:pt x="6852095" y="407194"/>
                  <a:pt x="6870764" y="397574"/>
                  <a:pt x="6889433" y="388049"/>
                </a:cubicBezTo>
                <a:cubicBezTo>
                  <a:pt x="6898767" y="383191"/>
                  <a:pt x="6908197" y="378619"/>
                  <a:pt x="6917341" y="373571"/>
                </a:cubicBezTo>
                <a:lnTo>
                  <a:pt x="6944678" y="358045"/>
                </a:lnTo>
                <a:lnTo>
                  <a:pt x="6999256" y="326898"/>
                </a:lnTo>
                <a:cubicBezTo>
                  <a:pt x="7017354" y="316325"/>
                  <a:pt x="7035927" y="306515"/>
                  <a:pt x="7053453" y="295085"/>
                </a:cubicBezTo>
                <a:cubicBezTo>
                  <a:pt x="7053453" y="295085"/>
                  <a:pt x="7086505" y="274320"/>
                  <a:pt x="7152704" y="232886"/>
                </a:cubicBezTo>
                <a:cubicBezTo>
                  <a:pt x="7169468" y="222885"/>
                  <a:pt x="7187184" y="209836"/>
                  <a:pt x="7207472" y="196310"/>
                </a:cubicBezTo>
                <a:cubicBezTo>
                  <a:pt x="7227571" y="182594"/>
                  <a:pt x="7249763" y="167450"/>
                  <a:pt x="7273957" y="150971"/>
                </a:cubicBezTo>
                <a:cubicBezTo>
                  <a:pt x="7298437" y="134874"/>
                  <a:pt x="7323677" y="115729"/>
                  <a:pt x="7351205" y="95631"/>
                </a:cubicBezTo>
                <a:cubicBezTo>
                  <a:pt x="7378637" y="75438"/>
                  <a:pt x="7408164" y="53816"/>
                  <a:pt x="7439502" y="30671"/>
                </a:cubicBezTo>
                <a:close/>
              </a:path>
            </a:pathLst>
          </a:custGeom>
          <a:gradFill>
            <a:gsLst>
              <a:gs pos="93000">
                <a:schemeClr val="accent2">
                  <a:alpha val="0"/>
                </a:schemeClr>
              </a:gs>
              <a:gs pos="17000">
                <a:schemeClr val="accent2">
                  <a:alpha val="0"/>
                </a:schemeClr>
              </a:gs>
              <a:gs pos="72000">
                <a:schemeClr val="accent2"/>
              </a:gs>
              <a:gs pos="38000">
                <a:schemeClr val="accent2"/>
              </a:gs>
            </a:gsLst>
            <a:lin ang="0" scaled="1"/>
          </a:gradFill>
          <a:ln w="0" cap="flat">
            <a:noFill/>
            <a:prstDash val="solid"/>
            <a:miter/>
          </a:ln>
        </p:spPr>
        <p:txBody>
          <a:bodyPr rtlCol="0" anchor="ctr"/>
          <a:lstStyle/>
          <a:p>
            <a:endParaRPr lang="en-US"/>
          </a:p>
        </p:txBody>
      </p:sp>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lvl1pPr>
          </a:lstStyle>
          <a:p>
            <a:pPr lvl="0"/>
            <a:r>
              <a:rPr lang="en-US"/>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a:t>0x</a:t>
            </a:r>
          </a:p>
        </p:txBody>
      </p:sp>
      <p:sp>
        <p:nvSpPr>
          <p:cNvPr id="2" name="Title Placeholder 1">
            <a:extLst>
              <a:ext uri="{FF2B5EF4-FFF2-40B4-BE49-F238E27FC236}">
                <a16:creationId xmlns:a16="http://schemas.microsoft.com/office/drawing/2014/main" id="{114BB18C-C624-35CB-514D-CE1A312E0BD8}"/>
              </a:ext>
            </a:extLst>
          </p:cNvPr>
          <p:cNvSpPr>
            <a:spLocks noGrp="1"/>
          </p:cNvSpPr>
          <p:nvPr>
            <p:ph type="title" hasCustomPrompt="1"/>
          </p:nvPr>
        </p:nvSpPr>
        <p:spPr>
          <a:xfrm>
            <a:off x="1079321" y="260350"/>
            <a:ext cx="8640763" cy="792163"/>
          </a:xfrm>
        </p:spPr>
        <p:txBody>
          <a:bodyPr/>
          <a:lstStyle>
            <a:lvl1pPr>
              <a:defRPr>
                <a:solidFill>
                  <a:schemeClr val="accent2"/>
                </a:solidFill>
              </a:defRPr>
            </a:lvl1pPr>
          </a:lstStyle>
          <a:p>
            <a:r>
              <a:rPr lang="en-US"/>
              <a:t>Click to edit Agenda</a:t>
            </a:r>
          </a:p>
        </p:txBody>
      </p:sp>
      <p:grpSp>
        <p:nvGrpSpPr>
          <p:cNvPr id="3" name="Groupe 1">
            <a:extLst>
              <a:ext uri="{FF2B5EF4-FFF2-40B4-BE49-F238E27FC236}">
                <a16:creationId xmlns:a16="http://schemas.microsoft.com/office/drawing/2014/main" id="{86A1AD96-A078-7891-2947-E45B993EBE02}"/>
              </a:ext>
            </a:extLst>
          </p:cNvPr>
          <p:cNvGrpSpPr/>
          <p:nvPr userDrawn="1"/>
        </p:nvGrpSpPr>
        <p:grpSpPr>
          <a:xfrm>
            <a:off x="11501102" y="171573"/>
            <a:ext cx="419436" cy="388988"/>
            <a:chOff x="11501102" y="171573"/>
            <a:chExt cx="419436" cy="388988"/>
          </a:xfrm>
        </p:grpSpPr>
        <p:sp>
          <p:nvSpPr>
            <p:cNvPr id="5" name="Freeform 13">
              <a:extLst>
                <a:ext uri="{FF2B5EF4-FFF2-40B4-BE49-F238E27FC236}">
                  <a16:creationId xmlns:a16="http://schemas.microsoft.com/office/drawing/2014/main" id="{7045872D-7463-79DD-B3C7-BD323019803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 name="Freeform 14">
              <a:extLst>
                <a:ext uri="{FF2B5EF4-FFF2-40B4-BE49-F238E27FC236}">
                  <a16:creationId xmlns:a16="http://schemas.microsoft.com/office/drawing/2014/main" id="{E809C4B1-E054-F058-1626-DD9517B5F234}"/>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967612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2_Full Picture White Spade">
    <p:bg>
      <p:bgPr>
        <a:solidFill>
          <a:schemeClr val="accent4"/>
        </a:solidFill>
        <a:effectLst/>
      </p:bgPr>
    </p:bg>
    <p:spTree>
      <p:nvGrpSpPr>
        <p:cNvPr id="1" name=""/>
        <p:cNvGrpSpPr/>
        <p:nvPr/>
      </p:nvGrpSpPr>
      <p:grpSpPr>
        <a:xfrm>
          <a:off x="0" y="0"/>
          <a:ext cx="0" cy="0"/>
          <a:chOff x="0" y="0"/>
          <a:chExt cx="0" cy="0"/>
        </a:xfrm>
      </p:grpSpPr>
      <p:pic>
        <p:nvPicPr>
          <p:cNvPr id="2" name="Picture 1" descr="A car driving on a road&#10;&#10;Description automatically generated">
            <a:extLst>
              <a:ext uri="{FF2B5EF4-FFF2-40B4-BE49-F238E27FC236}">
                <a16:creationId xmlns:a16="http://schemas.microsoft.com/office/drawing/2014/main" id="{6D4E0D2A-CBDD-EDA2-F92A-06A2DCC2E83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15CA3102-089E-E81F-4DAA-01277F491D04}"/>
              </a:ext>
            </a:extLst>
          </p:cNvPr>
          <p:cNvSpPr/>
          <p:nvPr userDrawn="1"/>
        </p:nvSpPr>
        <p:spPr>
          <a:xfrm>
            <a:off x="0" y="616002"/>
            <a:ext cx="5100739" cy="3323515"/>
          </a:xfrm>
          <a:prstGeom prst="rect">
            <a:avLst/>
          </a:prstGeom>
          <a:solidFill>
            <a:schemeClr val="bg2"/>
          </a:solidFill>
        </p:spPr>
        <p:txBody>
          <a:bodyPr vert="horz" wrap="square" lIns="396000" tIns="360000" rIns="504000" bIns="914400" rtlCol="0" anchor="b" anchorCtr="0">
            <a:noAutofit/>
          </a:bodyPr>
          <a:lstStyle/>
          <a:p>
            <a:pPr marL="0" marR="0" lvl="0" indent="0" algn="l" defTabSz="914400" rtl="0" eaLnBrk="1" fontAlgn="auto" latinLnBrk="0" hangingPunct="1">
              <a:lnSpc>
                <a:spcPct val="90000"/>
              </a:lnSpc>
              <a:spcBef>
                <a:spcPct val="0"/>
              </a:spcBef>
              <a:spcAft>
                <a:spcPts val="0"/>
              </a:spcAft>
              <a:buClrTx/>
              <a:buSzTx/>
              <a:buFontTx/>
              <a:buNone/>
              <a:tabLst>
                <a:tab pos="1258888" algn="l"/>
              </a:tabLst>
            </a:pPr>
            <a:endParaRPr kumimoji="0" lang="en-US" sz="3600" b="0" i="0" u="none" strike="noStrike" kern="1200" cap="none" spc="0" normalizeH="0" baseline="0" noProof="0">
              <a:ln>
                <a:noFill/>
              </a:ln>
              <a:solidFill>
                <a:schemeClr val="bg1"/>
              </a:solidFill>
              <a:effectLst/>
              <a:uLnTx/>
              <a:uFillTx/>
              <a:latin typeface="+mj-lt"/>
              <a:ea typeface="+mj-ea"/>
              <a:cs typeface="+mj-cs"/>
            </a:endParaRPr>
          </a:p>
        </p:txBody>
      </p:sp>
      <p:sp>
        <p:nvSpPr>
          <p:cNvPr id="3" name="Subtitle">
            <a:extLst>
              <a:ext uri="{FF2B5EF4-FFF2-40B4-BE49-F238E27FC236}">
                <a16:creationId xmlns:a16="http://schemas.microsoft.com/office/drawing/2014/main" id="{B3FCD38E-1F71-EA8E-7048-F655798886D1}"/>
              </a:ext>
            </a:extLst>
          </p:cNvPr>
          <p:cNvSpPr>
            <a:spLocks noGrp="1"/>
          </p:cNvSpPr>
          <p:nvPr>
            <p:ph type="subTitle" idx="1" hasCustomPrompt="1"/>
          </p:nvPr>
        </p:nvSpPr>
        <p:spPr>
          <a:xfrm>
            <a:off x="407368" y="3152344"/>
            <a:ext cx="4298856" cy="184666"/>
          </a:xfrm>
          <a:prstGeom prst="rect">
            <a:avLst/>
          </a:prstGeom>
        </p:spPr>
        <p:txBody>
          <a:bodyPr wrap="square" lIns="18000" tIns="0" rIns="0" anchor="t" anchorCtr="0">
            <a:spAutoFit/>
          </a:bodyPr>
          <a:lstStyle>
            <a:lvl1pPr marL="0" indent="0" algn="l">
              <a:buNone/>
              <a:defRPr sz="12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t</a:t>
            </a:r>
            <a:r>
              <a:rPr lang="en-US" noProof="0"/>
              <a:t>Click to insert subtitle (sentence case)</a:t>
            </a:r>
            <a:endParaRPr lang="en-GB"/>
          </a:p>
        </p:txBody>
      </p:sp>
      <p:sp>
        <p:nvSpPr>
          <p:cNvPr id="15" name="Graphic 3">
            <a:extLst>
              <a:ext uri="{FF2B5EF4-FFF2-40B4-BE49-F238E27FC236}">
                <a16:creationId xmlns:a16="http://schemas.microsoft.com/office/drawing/2014/main" id="{CBD8E063-073C-883B-EB48-C98C6EB50D70}"/>
              </a:ext>
            </a:extLst>
          </p:cNvPr>
          <p:cNvSpPr/>
          <p:nvPr userDrawn="1"/>
        </p:nvSpPr>
        <p:spPr>
          <a:xfrm flipH="1">
            <a:off x="2866542" y="1018068"/>
            <a:ext cx="8181356" cy="6774057"/>
          </a:xfrm>
          <a:custGeom>
            <a:avLst/>
            <a:gdLst>
              <a:gd name="connsiteX0" fmla="*/ 5788629 w 5795867"/>
              <a:gd name="connsiteY0" fmla="*/ 87743 h 4798903"/>
              <a:gd name="connsiteX1" fmla="*/ 5790438 w 5795867"/>
              <a:gd name="connsiteY1" fmla="*/ 78409 h 4798903"/>
              <a:gd name="connsiteX2" fmla="*/ 5792248 w 5795867"/>
              <a:gd name="connsiteY2" fmla="*/ 69074 h 4798903"/>
              <a:gd name="connsiteX3" fmla="*/ 5794058 w 5795867"/>
              <a:gd name="connsiteY3" fmla="*/ 59740 h 4798903"/>
              <a:gd name="connsiteX4" fmla="*/ 5795868 w 5795867"/>
              <a:gd name="connsiteY4" fmla="*/ 50405 h 4798903"/>
              <a:gd name="connsiteX5" fmla="*/ 5515261 w 5795867"/>
              <a:gd name="connsiteY5" fmla="*/ 13734 h 4798903"/>
              <a:gd name="connsiteX6" fmla="*/ 5313712 w 5795867"/>
              <a:gd name="connsiteY6" fmla="*/ 1447 h 4798903"/>
              <a:gd name="connsiteX7" fmla="*/ 5192459 w 5795867"/>
              <a:gd name="connsiteY7" fmla="*/ 18 h 4798903"/>
              <a:gd name="connsiteX8" fmla="*/ 5151977 w 5795867"/>
              <a:gd name="connsiteY8" fmla="*/ 685 h 4798903"/>
              <a:gd name="connsiteX9" fmla="*/ 4808982 w 5795867"/>
              <a:gd name="connsiteY9" fmla="*/ 35165 h 4798903"/>
              <a:gd name="connsiteX10" fmla="*/ 4584287 w 5795867"/>
              <a:gd name="connsiteY10" fmla="*/ 100221 h 4798903"/>
              <a:gd name="connsiteX11" fmla="*/ 4530376 w 5795867"/>
              <a:gd name="connsiteY11" fmla="*/ 123938 h 4798903"/>
              <a:gd name="connsiteX12" fmla="*/ 4478370 w 5795867"/>
              <a:gd name="connsiteY12" fmla="*/ 151942 h 4798903"/>
              <a:gd name="connsiteX13" fmla="*/ 4428363 w 5795867"/>
              <a:gd name="connsiteY13" fmla="*/ 183755 h 4798903"/>
              <a:gd name="connsiteX14" fmla="*/ 4381596 w 5795867"/>
              <a:gd name="connsiteY14" fmla="*/ 220522 h 4798903"/>
              <a:gd name="connsiteX15" fmla="*/ 4338352 w 5795867"/>
              <a:gd name="connsiteY15" fmla="*/ 261670 h 4798903"/>
              <a:gd name="connsiteX16" fmla="*/ 4300347 w 5795867"/>
              <a:gd name="connsiteY16" fmla="*/ 307866 h 4798903"/>
              <a:gd name="connsiteX17" fmla="*/ 4241673 w 5795867"/>
              <a:gd name="connsiteY17" fmla="*/ 411974 h 4798903"/>
              <a:gd name="connsiteX18" fmla="*/ 4235863 w 5795867"/>
              <a:gd name="connsiteY18" fmla="*/ 425785 h 4798903"/>
              <a:gd name="connsiteX19" fmla="*/ 4231005 w 5795867"/>
              <a:gd name="connsiteY19" fmla="*/ 439978 h 4798903"/>
              <a:gd name="connsiteX20" fmla="*/ 4221766 w 5795867"/>
              <a:gd name="connsiteY20" fmla="*/ 468362 h 4798903"/>
              <a:gd name="connsiteX21" fmla="*/ 4208812 w 5795867"/>
              <a:gd name="connsiteY21" fmla="*/ 526560 h 4798903"/>
              <a:gd name="connsiteX22" fmla="*/ 4204240 w 5795867"/>
              <a:gd name="connsiteY22" fmla="*/ 555992 h 4798903"/>
              <a:gd name="connsiteX23" fmla="*/ 4201478 w 5795867"/>
              <a:gd name="connsiteY23" fmla="*/ 585520 h 4798903"/>
              <a:gd name="connsiteX24" fmla="*/ 4199954 w 5795867"/>
              <a:gd name="connsiteY24" fmla="*/ 615142 h 4798903"/>
              <a:gd name="connsiteX25" fmla="*/ 4199192 w 5795867"/>
              <a:gd name="connsiteY25" fmla="*/ 644765 h 4798903"/>
              <a:gd name="connsiteX26" fmla="*/ 4203287 w 5795867"/>
              <a:gd name="connsiteY26" fmla="*/ 715726 h 4798903"/>
              <a:gd name="connsiteX27" fmla="*/ 4207097 w 5795867"/>
              <a:gd name="connsiteY27" fmla="*/ 750969 h 4798903"/>
              <a:gd name="connsiteX28" fmla="*/ 4212717 w 5795867"/>
              <a:gd name="connsiteY28" fmla="*/ 785926 h 4798903"/>
              <a:gd name="connsiteX29" fmla="*/ 4215575 w 5795867"/>
              <a:gd name="connsiteY29" fmla="*/ 803356 h 4798903"/>
              <a:gd name="connsiteX30" fmla="*/ 4219289 w 5795867"/>
              <a:gd name="connsiteY30" fmla="*/ 820597 h 4798903"/>
              <a:gd name="connsiteX31" fmla="*/ 4226719 w 5795867"/>
              <a:gd name="connsiteY31" fmla="*/ 855077 h 4798903"/>
              <a:gd name="connsiteX32" fmla="*/ 4244816 w 5795867"/>
              <a:gd name="connsiteY32" fmla="*/ 923181 h 4798903"/>
              <a:gd name="connsiteX33" fmla="*/ 4266343 w 5795867"/>
              <a:gd name="connsiteY33" fmla="*/ 990142 h 4798903"/>
              <a:gd name="connsiteX34" fmla="*/ 4290632 w 5795867"/>
              <a:gd name="connsiteY34" fmla="*/ 1055959 h 4798903"/>
              <a:gd name="connsiteX35" fmla="*/ 4317302 w 5795867"/>
              <a:gd name="connsiteY35" fmla="*/ 1120825 h 4798903"/>
              <a:gd name="connsiteX36" fmla="*/ 4331685 w 5795867"/>
              <a:gd name="connsiteY36" fmla="*/ 1152733 h 4798903"/>
              <a:gd name="connsiteX37" fmla="*/ 4346067 w 5795867"/>
              <a:gd name="connsiteY37" fmla="*/ 1184642 h 4798903"/>
              <a:gd name="connsiteX38" fmla="*/ 4346067 w 5795867"/>
              <a:gd name="connsiteY38" fmla="*/ 1184833 h 4798903"/>
              <a:gd name="connsiteX39" fmla="*/ 4377214 w 5795867"/>
              <a:gd name="connsiteY39" fmla="*/ 1254175 h 4798903"/>
              <a:gd name="connsiteX40" fmla="*/ 4405694 w 5795867"/>
              <a:gd name="connsiteY40" fmla="*/ 1324564 h 4798903"/>
              <a:gd name="connsiteX41" fmla="*/ 4431316 w 5795867"/>
              <a:gd name="connsiteY41" fmla="*/ 1395907 h 4798903"/>
              <a:gd name="connsiteX42" fmla="*/ 4443222 w 5795867"/>
              <a:gd name="connsiteY42" fmla="*/ 1431911 h 4798903"/>
              <a:gd name="connsiteX43" fmla="*/ 4453795 w 5795867"/>
              <a:gd name="connsiteY43" fmla="*/ 1468297 h 4798903"/>
              <a:gd name="connsiteX44" fmla="*/ 4487418 w 5795867"/>
              <a:gd name="connsiteY44" fmla="*/ 1615553 h 4798903"/>
              <a:gd name="connsiteX45" fmla="*/ 4497134 w 5795867"/>
              <a:gd name="connsiteY45" fmla="*/ 1690229 h 4798903"/>
              <a:gd name="connsiteX46" fmla="*/ 4500182 w 5795867"/>
              <a:gd name="connsiteY46" fmla="*/ 1727758 h 4798903"/>
              <a:gd name="connsiteX47" fmla="*/ 4501991 w 5795867"/>
              <a:gd name="connsiteY47" fmla="*/ 1765286 h 4798903"/>
              <a:gd name="connsiteX48" fmla="*/ 4475703 w 5795867"/>
              <a:gd name="connsiteY48" fmla="*/ 1992934 h 4798903"/>
              <a:gd name="connsiteX49" fmla="*/ 4436555 w 5795867"/>
              <a:gd name="connsiteY49" fmla="*/ 2100376 h 4798903"/>
              <a:gd name="connsiteX50" fmla="*/ 4410552 w 5795867"/>
              <a:gd name="connsiteY50" fmla="*/ 2151335 h 4798903"/>
              <a:gd name="connsiteX51" fmla="*/ 4395693 w 5795867"/>
              <a:gd name="connsiteY51" fmla="*/ 2175814 h 4798903"/>
              <a:gd name="connsiteX52" fmla="*/ 4380071 w 5795867"/>
              <a:gd name="connsiteY52" fmla="*/ 2199817 h 4798903"/>
              <a:gd name="connsiteX53" fmla="*/ 4363403 w 5795867"/>
              <a:gd name="connsiteY53" fmla="*/ 2223058 h 4798903"/>
              <a:gd name="connsiteX54" fmla="*/ 4345591 w 5795867"/>
              <a:gd name="connsiteY54" fmla="*/ 2245441 h 4798903"/>
              <a:gd name="connsiteX55" fmla="*/ 4307681 w 5795867"/>
              <a:gd name="connsiteY55" fmla="*/ 2288494 h 4798903"/>
              <a:gd name="connsiteX56" fmla="*/ 4222242 w 5795867"/>
              <a:gd name="connsiteY56" fmla="*/ 2365266 h 4798903"/>
              <a:gd name="connsiteX57" fmla="*/ 4127278 w 5795867"/>
              <a:gd name="connsiteY57" fmla="*/ 2430512 h 4798903"/>
              <a:gd name="connsiteX58" fmla="*/ 4076891 w 5795867"/>
              <a:gd name="connsiteY58" fmla="*/ 2458802 h 4798903"/>
              <a:gd name="connsiteX59" fmla="*/ 4024979 w 5795867"/>
              <a:gd name="connsiteY59" fmla="*/ 2484424 h 4798903"/>
              <a:gd name="connsiteX60" fmla="*/ 3998595 w 5795867"/>
              <a:gd name="connsiteY60" fmla="*/ 2496520 h 4798903"/>
              <a:gd name="connsiteX61" fmla="*/ 3971830 w 5795867"/>
              <a:gd name="connsiteY61" fmla="*/ 2507665 h 4798903"/>
              <a:gd name="connsiteX62" fmla="*/ 3944969 w 5795867"/>
              <a:gd name="connsiteY62" fmla="*/ 2518619 h 4798903"/>
              <a:gd name="connsiteX63" fmla="*/ 3917728 w 5795867"/>
              <a:gd name="connsiteY63" fmla="*/ 2528620 h 4798903"/>
              <a:gd name="connsiteX64" fmla="*/ 3807047 w 5795867"/>
              <a:gd name="connsiteY64" fmla="*/ 2564148 h 4798903"/>
              <a:gd name="connsiteX65" fmla="*/ 3693986 w 5795867"/>
              <a:gd name="connsiteY65" fmla="*/ 2592056 h 4798903"/>
              <a:gd name="connsiteX66" fmla="*/ 3579305 w 5795867"/>
              <a:gd name="connsiteY66" fmla="*/ 2613202 h 4798903"/>
              <a:gd name="connsiteX67" fmla="*/ 3463576 w 5795867"/>
              <a:gd name="connsiteY67" fmla="*/ 2628346 h 4798903"/>
              <a:gd name="connsiteX68" fmla="*/ 3405378 w 5795867"/>
              <a:gd name="connsiteY68" fmla="*/ 2633871 h 4798903"/>
              <a:gd name="connsiteX69" fmla="*/ 3347085 w 5795867"/>
              <a:gd name="connsiteY69" fmla="*/ 2638157 h 4798903"/>
              <a:gd name="connsiteX70" fmla="*/ 3288697 w 5795867"/>
              <a:gd name="connsiteY70" fmla="*/ 2641301 h 4798903"/>
              <a:gd name="connsiteX71" fmla="*/ 3230213 w 5795867"/>
              <a:gd name="connsiteY71" fmla="*/ 2643301 h 4798903"/>
              <a:gd name="connsiteX72" fmla="*/ 3171730 w 5795867"/>
              <a:gd name="connsiteY72" fmla="*/ 2644253 h 4798903"/>
              <a:gd name="connsiteX73" fmla="*/ 3113246 w 5795867"/>
              <a:gd name="connsiteY73" fmla="*/ 2644253 h 4798903"/>
              <a:gd name="connsiteX74" fmla="*/ 2939320 w 5795867"/>
              <a:gd name="connsiteY74" fmla="*/ 2638252 h 4798903"/>
              <a:gd name="connsiteX75" fmla="*/ 2852452 w 5795867"/>
              <a:gd name="connsiteY75" fmla="*/ 2632442 h 4798903"/>
              <a:gd name="connsiteX76" fmla="*/ 2765679 w 5795867"/>
              <a:gd name="connsiteY76" fmla="*/ 2624822 h 4798903"/>
              <a:gd name="connsiteX77" fmla="*/ 2679097 w 5795867"/>
              <a:gd name="connsiteY77" fmla="*/ 2615488 h 4798903"/>
              <a:gd name="connsiteX78" fmla="*/ 2592705 w 5795867"/>
              <a:gd name="connsiteY78" fmla="*/ 2604344 h 4798903"/>
              <a:gd name="connsiteX79" fmla="*/ 2506504 w 5795867"/>
              <a:gd name="connsiteY79" fmla="*/ 2591675 h 4798903"/>
              <a:gd name="connsiteX80" fmla="*/ 2420493 w 5795867"/>
              <a:gd name="connsiteY80" fmla="*/ 2577578 h 4798903"/>
              <a:gd name="connsiteX81" fmla="*/ 2334768 w 5795867"/>
              <a:gd name="connsiteY81" fmla="*/ 2562052 h 4798903"/>
              <a:gd name="connsiteX82" fmla="*/ 2292001 w 5795867"/>
              <a:gd name="connsiteY82" fmla="*/ 2553861 h 4798903"/>
              <a:gd name="connsiteX83" fmla="*/ 2249329 w 5795867"/>
              <a:gd name="connsiteY83" fmla="*/ 2545098 h 4798903"/>
              <a:gd name="connsiteX84" fmla="*/ 2164080 w 5795867"/>
              <a:gd name="connsiteY84" fmla="*/ 2526810 h 4798903"/>
              <a:gd name="connsiteX85" fmla="*/ 2079117 w 5795867"/>
              <a:gd name="connsiteY85" fmla="*/ 2507188 h 4798903"/>
              <a:gd name="connsiteX86" fmla="*/ 1994440 w 5795867"/>
              <a:gd name="connsiteY86" fmla="*/ 2486329 h 4798903"/>
              <a:gd name="connsiteX87" fmla="*/ 1910144 w 5795867"/>
              <a:gd name="connsiteY87" fmla="*/ 2464231 h 4798903"/>
              <a:gd name="connsiteX88" fmla="*/ 1826133 w 5795867"/>
              <a:gd name="connsiteY88" fmla="*/ 2440894 h 4798903"/>
              <a:gd name="connsiteX89" fmla="*/ 1742408 w 5795867"/>
              <a:gd name="connsiteY89" fmla="*/ 2416415 h 4798903"/>
              <a:gd name="connsiteX90" fmla="*/ 1715738 w 5795867"/>
              <a:gd name="connsiteY90" fmla="*/ 2408510 h 4798903"/>
              <a:gd name="connsiteX91" fmla="*/ 1715453 w 5795867"/>
              <a:gd name="connsiteY91" fmla="*/ 2408510 h 4798903"/>
              <a:gd name="connsiteX92" fmla="*/ 1715357 w 5795867"/>
              <a:gd name="connsiteY92" fmla="*/ 2408510 h 4798903"/>
              <a:gd name="connsiteX93" fmla="*/ 1588961 w 5795867"/>
              <a:gd name="connsiteY93" fmla="*/ 2489758 h 4798903"/>
              <a:gd name="connsiteX94" fmla="*/ 1530287 w 5795867"/>
              <a:gd name="connsiteY94" fmla="*/ 2529763 h 4798903"/>
              <a:gd name="connsiteX95" fmla="*/ 1472184 w 5795867"/>
              <a:gd name="connsiteY95" fmla="*/ 2570435 h 4798903"/>
              <a:gd name="connsiteX96" fmla="*/ 1443133 w 5795867"/>
              <a:gd name="connsiteY96" fmla="*/ 2590818 h 4798903"/>
              <a:gd name="connsiteX97" fmla="*/ 1414748 w 5795867"/>
              <a:gd name="connsiteY97" fmla="*/ 2612154 h 4798903"/>
              <a:gd name="connsiteX98" fmla="*/ 1358265 w 5795867"/>
              <a:gd name="connsiteY98" fmla="*/ 2655112 h 4798903"/>
              <a:gd name="connsiteX99" fmla="*/ 1329976 w 5795867"/>
              <a:gd name="connsiteY99" fmla="*/ 2676638 h 4798903"/>
              <a:gd name="connsiteX100" fmla="*/ 1315879 w 5795867"/>
              <a:gd name="connsiteY100" fmla="*/ 2687402 h 4798903"/>
              <a:gd name="connsiteX101" fmla="*/ 1302163 w 5795867"/>
              <a:gd name="connsiteY101" fmla="*/ 2698641 h 4798903"/>
              <a:gd name="connsiteX102" fmla="*/ 1247394 w 5795867"/>
              <a:gd name="connsiteY102" fmla="*/ 2743789 h 4798903"/>
              <a:gd name="connsiteX103" fmla="*/ 838771 w 5795867"/>
              <a:gd name="connsiteY103" fmla="*/ 3137553 h 4798903"/>
              <a:gd name="connsiteX104" fmla="*/ 494157 w 5795867"/>
              <a:gd name="connsiteY104" fmla="*/ 3588371 h 4798903"/>
              <a:gd name="connsiteX105" fmla="*/ 223171 w 5795867"/>
              <a:gd name="connsiteY105" fmla="*/ 4087005 h 4798903"/>
              <a:gd name="connsiteX106" fmla="*/ 204311 w 5795867"/>
              <a:gd name="connsiteY106" fmla="*/ 4129391 h 4798903"/>
              <a:gd name="connsiteX107" fmla="*/ 151924 w 5795867"/>
              <a:gd name="connsiteY107" fmla="*/ 4258264 h 4798903"/>
              <a:gd name="connsiteX108" fmla="*/ 115729 w 5795867"/>
              <a:gd name="connsiteY108" fmla="*/ 4356086 h 4798903"/>
              <a:gd name="connsiteX109" fmla="*/ 76010 w 5795867"/>
              <a:gd name="connsiteY109" fmla="*/ 4477339 h 4798903"/>
              <a:gd name="connsiteX110" fmla="*/ 35528 w 5795867"/>
              <a:gd name="connsiteY110" fmla="*/ 4622596 h 4798903"/>
              <a:gd name="connsiteX111" fmla="*/ 0 w 5795867"/>
              <a:gd name="connsiteY111" fmla="*/ 4793951 h 4798903"/>
              <a:gd name="connsiteX112" fmla="*/ 9430 w 5795867"/>
              <a:gd name="connsiteY112" fmla="*/ 4795189 h 4798903"/>
              <a:gd name="connsiteX113" fmla="*/ 18860 w 5795867"/>
              <a:gd name="connsiteY113" fmla="*/ 4796427 h 4798903"/>
              <a:gd name="connsiteX114" fmla="*/ 28289 w 5795867"/>
              <a:gd name="connsiteY114" fmla="*/ 4797665 h 4798903"/>
              <a:gd name="connsiteX115" fmla="*/ 37719 w 5795867"/>
              <a:gd name="connsiteY115" fmla="*/ 4798904 h 4798903"/>
              <a:gd name="connsiteX116" fmla="*/ 72485 w 5795867"/>
              <a:gd name="connsiteY116" fmla="*/ 4631740 h 4798903"/>
              <a:gd name="connsiteX117" fmla="*/ 112490 w 5795867"/>
              <a:gd name="connsiteY117" fmla="*/ 4488389 h 4798903"/>
              <a:gd name="connsiteX118" fmla="*/ 151733 w 5795867"/>
              <a:gd name="connsiteY118" fmla="*/ 4368564 h 4798903"/>
              <a:gd name="connsiteX119" fmla="*/ 187452 w 5795867"/>
              <a:gd name="connsiteY119" fmla="*/ 4271790 h 4798903"/>
              <a:gd name="connsiteX120" fmla="*/ 239268 w 5795867"/>
              <a:gd name="connsiteY120" fmla="*/ 4144345 h 4798903"/>
              <a:gd name="connsiteX121" fmla="*/ 257937 w 5795867"/>
              <a:gd name="connsiteY121" fmla="*/ 4102435 h 4798903"/>
              <a:gd name="connsiteX122" fmla="*/ 526066 w 5795867"/>
              <a:gd name="connsiteY122" fmla="*/ 3608945 h 4798903"/>
              <a:gd name="connsiteX123" fmla="*/ 867156 w 5795867"/>
              <a:gd name="connsiteY123" fmla="*/ 3162699 h 4798903"/>
              <a:gd name="connsiteX124" fmla="*/ 1271683 w 5795867"/>
              <a:gd name="connsiteY124" fmla="*/ 2772936 h 4798903"/>
              <a:gd name="connsiteX125" fmla="*/ 1325975 w 5795867"/>
              <a:gd name="connsiteY125" fmla="*/ 2728264 h 4798903"/>
              <a:gd name="connsiteX126" fmla="*/ 1339501 w 5795867"/>
              <a:gd name="connsiteY126" fmla="*/ 2717119 h 4798903"/>
              <a:gd name="connsiteX127" fmla="*/ 1353503 w 5795867"/>
              <a:gd name="connsiteY127" fmla="*/ 2706452 h 4798903"/>
              <a:gd name="connsiteX128" fmla="*/ 1381506 w 5795867"/>
              <a:gd name="connsiteY128" fmla="*/ 2685211 h 4798903"/>
              <a:gd name="connsiteX129" fmla="*/ 1437418 w 5795867"/>
              <a:gd name="connsiteY129" fmla="*/ 2642634 h 4798903"/>
              <a:gd name="connsiteX130" fmla="*/ 1465517 w 5795867"/>
              <a:gd name="connsiteY130" fmla="*/ 2621488 h 4798903"/>
              <a:gd name="connsiteX131" fmla="*/ 1494282 w 5795867"/>
              <a:gd name="connsiteY131" fmla="*/ 2601295 h 4798903"/>
              <a:gd name="connsiteX132" fmla="*/ 1551908 w 5795867"/>
              <a:gd name="connsiteY132" fmla="*/ 2561005 h 4798903"/>
              <a:gd name="connsiteX133" fmla="*/ 1610011 w 5795867"/>
              <a:gd name="connsiteY133" fmla="*/ 2521381 h 4798903"/>
              <a:gd name="connsiteX134" fmla="*/ 1721358 w 5795867"/>
              <a:gd name="connsiteY134" fmla="*/ 2449848 h 4798903"/>
              <a:gd name="connsiteX135" fmla="*/ 1721358 w 5795867"/>
              <a:gd name="connsiteY135" fmla="*/ 2449848 h 4798903"/>
              <a:gd name="connsiteX136" fmla="*/ 1721358 w 5795867"/>
              <a:gd name="connsiteY136" fmla="*/ 2449848 h 4798903"/>
              <a:gd name="connsiteX137" fmla="*/ 1722311 w 5795867"/>
              <a:gd name="connsiteY137" fmla="*/ 2450134 h 4798903"/>
              <a:gd name="connsiteX138" fmla="*/ 1731550 w 5795867"/>
              <a:gd name="connsiteY138" fmla="*/ 2452896 h 4798903"/>
              <a:gd name="connsiteX139" fmla="*/ 1815751 w 5795867"/>
              <a:gd name="connsiteY139" fmla="*/ 2477470 h 4798903"/>
              <a:gd name="connsiteX140" fmla="*/ 1900238 w 5795867"/>
              <a:gd name="connsiteY140" fmla="*/ 2500902 h 4798903"/>
              <a:gd name="connsiteX141" fmla="*/ 1985105 w 5795867"/>
              <a:gd name="connsiteY141" fmla="*/ 2523095 h 4798903"/>
              <a:gd name="connsiteX142" fmla="*/ 2070259 w 5795867"/>
              <a:gd name="connsiteY142" fmla="*/ 2544050 h 4798903"/>
              <a:gd name="connsiteX143" fmla="*/ 2155793 w 5795867"/>
              <a:gd name="connsiteY143" fmla="*/ 2563767 h 4798903"/>
              <a:gd name="connsiteX144" fmla="*/ 2241614 w 5795867"/>
              <a:gd name="connsiteY144" fmla="*/ 2582150 h 4798903"/>
              <a:gd name="connsiteX145" fmla="*/ 2284571 w 5795867"/>
              <a:gd name="connsiteY145" fmla="*/ 2591009 h 4798903"/>
              <a:gd name="connsiteX146" fmla="*/ 2327720 w 5795867"/>
              <a:gd name="connsiteY146" fmla="*/ 2599200 h 4798903"/>
              <a:gd name="connsiteX147" fmla="*/ 2414111 w 5795867"/>
              <a:gd name="connsiteY147" fmla="*/ 2614916 h 4798903"/>
              <a:gd name="connsiteX148" fmla="*/ 2500694 w 5795867"/>
              <a:gd name="connsiteY148" fmla="*/ 2629109 h 4798903"/>
              <a:gd name="connsiteX149" fmla="*/ 2587562 w 5795867"/>
              <a:gd name="connsiteY149" fmla="*/ 2641872 h 4798903"/>
              <a:gd name="connsiteX150" fmla="*/ 2674620 w 5795867"/>
              <a:gd name="connsiteY150" fmla="*/ 2653016 h 4798903"/>
              <a:gd name="connsiteX151" fmla="*/ 2761964 w 5795867"/>
              <a:gd name="connsiteY151" fmla="*/ 2662446 h 4798903"/>
              <a:gd name="connsiteX152" fmla="*/ 2849499 w 5795867"/>
              <a:gd name="connsiteY152" fmla="*/ 2670161 h 4798903"/>
              <a:gd name="connsiteX153" fmla="*/ 2937129 w 5795867"/>
              <a:gd name="connsiteY153" fmla="*/ 2676067 h 4798903"/>
              <a:gd name="connsiteX154" fmla="*/ 3112770 w 5795867"/>
              <a:gd name="connsiteY154" fmla="*/ 2682163 h 4798903"/>
              <a:gd name="connsiteX155" fmla="*/ 3171920 w 5795867"/>
              <a:gd name="connsiteY155" fmla="*/ 2682163 h 4798903"/>
              <a:gd name="connsiteX156" fmla="*/ 3231071 w 5795867"/>
              <a:gd name="connsiteY156" fmla="*/ 2681115 h 4798903"/>
              <a:gd name="connsiteX157" fmla="*/ 3290221 w 5795867"/>
              <a:gd name="connsiteY157" fmla="*/ 2679019 h 4798903"/>
              <a:gd name="connsiteX158" fmla="*/ 3349371 w 5795867"/>
              <a:gd name="connsiteY158" fmla="*/ 2675781 h 4798903"/>
              <a:gd name="connsiteX159" fmla="*/ 3408426 w 5795867"/>
              <a:gd name="connsiteY159" fmla="*/ 2671400 h 4798903"/>
              <a:gd name="connsiteX160" fmla="*/ 3467386 w 5795867"/>
              <a:gd name="connsiteY160" fmla="*/ 2665780 h 4798903"/>
              <a:gd name="connsiteX161" fmla="*/ 3585020 w 5795867"/>
              <a:gd name="connsiteY161" fmla="*/ 2650349 h 4798903"/>
              <a:gd name="connsiteX162" fmla="*/ 3701796 w 5795867"/>
              <a:gd name="connsiteY162" fmla="*/ 2628823 h 4798903"/>
              <a:gd name="connsiteX163" fmla="*/ 3817239 w 5795867"/>
              <a:gd name="connsiteY163" fmla="*/ 2600343 h 4798903"/>
              <a:gd name="connsiteX164" fmla="*/ 3930587 w 5795867"/>
              <a:gd name="connsiteY164" fmla="*/ 2563958 h 4798903"/>
              <a:gd name="connsiteX165" fmla="*/ 3958590 w 5795867"/>
              <a:gd name="connsiteY165" fmla="*/ 2553670 h 4798903"/>
              <a:gd name="connsiteX166" fmla="*/ 3986213 w 5795867"/>
              <a:gd name="connsiteY166" fmla="*/ 2542431 h 4798903"/>
              <a:gd name="connsiteX167" fmla="*/ 4013740 w 5795867"/>
              <a:gd name="connsiteY167" fmla="*/ 2530906 h 4798903"/>
              <a:gd name="connsiteX168" fmla="*/ 4040886 w 5795867"/>
              <a:gd name="connsiteY168" fmla="*/ 2518523 h 4798903"/>
              <a:gd name="connsiteX169" fmla="*/ 4094512 w 5795867"/>
              <a:gd name="connsiteY169" fmla="*/ 2492044 h 4798903"/>
              <a:gd name="connsiteX170" fmla="*/ 4146709 w 5795867"/>
              <a:gd name="connsiteY170" fmla="*/ 2462802 h 4798903"/>
              <a:gd name="connsiteX171" fmla="*/ 4245579 w 5795867"/>
              <a:gd name="connsiteY171" fmla="*/ 2394889 h 4798903"/>
              <a:gd name="connsiteX172" fmla="*/ 4335018 w 5795867"/>
              <a:gd name="connsiteY172" fmla="*/ 2314498 h 4798903"/>
              <a:gd name="connsiteX173" fmla="*/ 4374928 w 5795867"/>
              <a:gd name="connsiteY173" fmla="*/ 2269254 h 4798903"/>
              <a:gd name="connsiteX174" fmla="*/ 4393692 w 5795867"/>
              <a:gd name="connsiteY174" fmla="*/ 2245632 h 4798903"/>
              <a:gd name="connsiteX175" fmla="*/ 4411313 w 5795867"/>
              <a:gd name="connsiteY175" fmla="*/ 2221057 h 4798903"/>
              <a:gd name="connsiteX176" fmla="*/ 4427792 w 5795867"/>
              <a:gd name="connsiteY176" fmla="*/ 2195721 h 4798903"/>
              <a:gd name="connsiteX177" fmla="*/ 4443508 w 5795867"/>
              <a:gd name="connsiteY177" fmla="*/ 2169908 h 4798903"/>
              <a:gd name="connsiteX178" fmla="*/ 4471035 w 5795867"/>
              <a:gd name="connsiteY178" fmla="*/ 2116092 h 4798903"/>
              <a:gd name="connsiteX179" fmla="*/ 4512374 w 5795867"/>
              <a:gd name="connsiteY179" fmla="*/ 2002649 h 4798903"/>
              <a:gd name="connsiteX180" fmla="*/ 4539996 w 5795867"/>
              <a:gd name="connsiteY180" fmla="*/ 1764238 h 4798903"/>
              <a:gd name="connsiteX181" fmla="*/ 4538091 w 5795867"/>
              <a:gd name="connsiteY181" fmla="*/ 1725186 h 4798903"/>
              <a:gd name="connsiteX182" fmla="*/ 4534948 w 5795867"/>
              <a:gd name="connsiteY182" fmla="*/ 1686324 h 4798903"/>
              <a:gd name="connsiteX183" fmla="*/ 4524852 w 5795867"/>
              <a:gd name="connsiteY183" fmla="*/ 1609076 h 4798903"/>
              <a:gd name="connsiteX184" fmla="*/ 4490276 w 5795867"/>
              <a:gd name="connsiteY184" fmla="*/ 1457629 h 4798903"/>
              <a:gd name="connsiteX185" fmla="*/ 4479417 w 5795867"/>
              <a:gd name="connsiteY185" fmla="*/ 1420386 h 4798903"/>
              <a:gd name="connsiteX186" fmla="*/ 4467225 w 5795867"/>
              <a:gd name="connsiteY186" fmla="*/ 1383619 h 4798903"/>
              <a:gd name="connsiteX187" fmla="*/ 4441031 w 5795867"/>
              <a:gd name="connsiteY187" fmla="*/ 1310753 h 4798903"/>
              <a:gd name="connsiteX188" fmla="*/ 4411980 w 5795867"/>
              <a:gd name="connsiteY188" fmla="*/ 1239030 h 4798903"/>
              <a:gd name="connsiteX189" fmla="*/ 4380357 w 5795867"/>
              <a:gd name="connsiteY189" fmla="*/ 1168450 h 4798903"/>
              <a:gd name="connsiteX190" fmla="*/ 4380357 w 5795867"/>
              <a:gd name="connsiteY190" fmla="*/ 1168259 h 4798903"/>
              <a:gd name="connsiteX191" fmla="*/ 4366165 w 5795867"/>
              <a:gd name="connsiteY191" fmla="*/ 1136827 h 4798903"/>
              <a:gd name="connsiteX192" fmla="*/ 4352068 w 5795867"/>
              <a:gd name="connsiteY192" fmla="*/ 1105394 h 4798903"/>
              <a:gd name="connsiteX193" fmla="*/ 4325874 w 5795867"/>
              <a:gd name="connsiteY193" fmla="*/ 1041767 h 4798903"/>
              <a:gd name="connsiteX194" fmla="*/ 4302157 w 5795867"/>
              <a:gd name="connsiteY194" fmla="*/ 977378 h 4798903"/>
              <a:gd name="connsiteX195" fmla="*/ 4281202 w 5795867"/>
              <a:gd name="connsiteY195" fmla="*/ 912132 h 4798903"/>
              <a:gd name="connsiteX196" fmla="*/ 4263581 w 5795867"/>
              <a:gd name="connsiteY196" fmla="*/ 846028 h 4798903"/>
              <a:gd name="connsiteX197" fmla="*/ 4256437 w 5795867"/>
              <a:gd name="connsiteY197" fmla="*/ 812691 h 4798903"/>
              <a:gd name="connsiteX198" fmla="*/ 4252818 w 5795867"/>
              <a:gd name="connsiteY198" fmla="*/ 796022 h 4798903"/>
              <a:gd name="connsiteX199" fmla="*/ 4250055 w 5795867"/>
              <a:gd name="connsiteY199" fmla="*/ 779258 h 4798903"/>
              <a:gd name="connsiteX200" fmla="*/ 4244626 w 5795867"/>
              <a:gd name="connsiteY200" fmla="*/ 745635 h 4798903"/>
              <a:gd name="connsiteX201" fmla="*/ 4241006 w 5795867"/>
              <a:gd name="connsiteY201" fmla="*/ 711821 h 4798903"/>
              <a:gd name="connsiteX202" fmla="*/ 4237006 w 5795867"/>
              <a:gd name="connsiteY202" fmla="*/ 644194 h 4798903"/>
              <a:gd name="connsiteX203" fmla="*/ 4237673 w 5795867"/>
              <a:gd name="connsiteY203" fmla="*/ 616190 h 4798903"/>
              <a:gd name="connsiteX204" fmla="*/ 4239102 w 5795867"/>
              <a:gd name="connsiteY204" fmla="*/ 588282 h 4798903"/>
              <a:gd name="connsiteX205" fmla="*/ 4241769 w 5795867"/>
              <a:gd name="connsiteY205" fmla="*/ 560469 h 4798903"/>
              <a:gd name="connsiteX206" fmla="*/ 4246055 w 5795867"/>
              <a:gd name="connsiteY206" fmla="*/ 532942 h 4798903"/>
              <a:gd name="connsiteX207" fmla="*/ 4258056 w 5795867"/>
              <a:gd name="connsiteY207" fmla="*/ 478649 h 4798903"/>
              <a:gd name="connsiteX208" fmla="*/ 4266629 w 5795867"/>
              <a:gd name="connsiteY208" fmla="*/ 452265 h 4798903"/>
              <a:gd name="connsiteX209" fmla="*/ 4271105 w 5795867"/>
              <a:gd name="connsiteY209" fmla="*/ 439120 h 4798903"/>
              <a:gd name="connsiteX210" fmla="*/ 4276535 w 5795867"/>
              <a:gd name="connsiteY210" fmla="*/ 426357 h 4798903"/>
              <a:gd name="connsiteX211" fmla="*/ 4330732 w 5795867"/>
              <a:gd name="connsiteY211" fmla="*/ 330154 h 4798903"/>
              <a:gd name="connsiteX212" fmla="*/ 4365879 w 5795867"/>
              <a:gd name="connsiteY212" fmla="*/ 287292 h 4798903"/>
              <a:gd name="connsiteX213" fmla="*/ 4406170 w 5795867"/>
              <a:gd name="connsiteY213" fmla="*/ 249001 h 4798903"/>
              <a:gd name="connsiteX214" fmla="*/ 4449985 w 5795867"/>
              <a:gd name="connsiteY214" fmla="*/ 214521 h 4798903"/>
              <a:gd name="connsiteX215" fmla="*/ 4497229 w 5795867"/>
              <a:gd name="connsiteY215" fmla="*/ 184422 h 4798903"/>
              <a:gd name="connsiteX216" fmla="*/ 4546759 w 5795867"/>
              <a:gd name="connsiteY216" fmla="*/ 157847 h 4798903"/>
              <a:gd name="connsiteX217" fmla="*/ 4598385 w 5795867"/>
              <a:gd name="connsiteY217" fmla="*/ 135082 h 4798903"/>
              <a:gd name="connsiteX218" fmla="*/ 4816031 w 5795867"/>
              <a:gd name="connsiteY218" fmla="*/ 72122 h 4798903"/>
              <a:gd name="connsiteX219" fmla="*/ 5152644 w 5795867"/>
              <a:gd name="connsiteY219" fmla="*/ 38308 h 4798903"/>
              <a:gd name="connsiteX220" fmla="*/ 5192554 w 5795867"/>
              <a:gd name="connsiteY220" fmla="*/ 37642 h 4798903"/>
              <a:gd name="connsiteX221" fmla="*/ 5312283 w 5795867"/>
              <a:gd name="connsiteY221" fmla="*/ 38975 h 4798903"/>
              <a:gd name="connsiteX222" fmla="*/ 5511641 w 5795867"/>
              <a:gd name="connsiteY222" fmla="*/ 51167 h 4798903"/>
              <a:gd name="connsiteX223" fmla="*/ 5788533 w 5795867"/>
              <a:gd name="connsiteY223" fmla="*/ 87362 h 47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5795867" h="4798903">
                <a:moveTo>
                  <a:pt x="5788629" y="87743"/>
                </a:moveTo>
                <a:lnTo>
                  <a:pt x="5790438" y="78409"/>
                </a:lnTo>
                <a:lnTo>
                  <a:pt x="5792248" y="69074"/>
                </a:lnTo>
                <a:lnTo>
                  <a:pt x="5794058" y="59740"/>
                </a:lnTo>
                <a:lnTo>
                  <a:pt x="5795868" y="50405"/>
                </a:lnTo>
                <a:cubicBezTo>
                  <a:pt x="5689092" y="31450"/>
                  <a:pt x="5595747" y="21163"/>
                  <a:pt x="5515261" y="13734"/>
                </a:cubicBezTo>
                <a:cubicBezTo>
                  <a:pt x="5434775" y="6590"/>
                  <a:pt x="5367528" y="3066"/>
                  <a:pt x="5313712" y="1447"/>
                </a:cubicBezTo>
                <a:cubicBezTo>
                  <a:pt x="5259896" y="-268"/>
                  <a:pt x="5219414" y="18"/>
                  <a:pt x="5192459" y="18"/>
                </a:cubicBezTo>
                <a:lnTo>
                  <a:pt x="5151977" y="685"/>
                </a:lnTo>
                <a:cubicBezTo>
                  <a:pt x="5037296" y="3542"/>
                  <a:pt x="4922330" y="13258"/>
                  <a:pt x="4808982" y="35165"/>
                </a:cubicBezTo>
                <a:cubicBezTo>
                  <a:pt x="4732687" y="50405"/>
                  <a:pt x="4656868" y="70408"/>
                  <a:pt x="4584287" y="100221"/>
                </a:cubicBezTo>
                <a:cubicBezTo>
                  <a:pt x="4565999" y="107269"/>
                  <a:pt x="4548283" y="115842"/>
                  <a:pt x="4530376" y="123938"/>
                </a:cubicBezTo>
                <a:cubicBezTo>
                  <a:pt x="4512945" y="133082"/>
                  <a:pt x="4495134" y="141464"/>
                  <a:pt x="4478370" y="151942"/>
                </a:cubicBezTo>
                <a:cubicBezTo>
                  <a:pt x="4461129" y="161562"/>
                  <a:pt x="4444841" y="172801"/>
                  <a:pt x="4428363" y="183755"/>
                </a:cubicBezTo>
                <a:cubicBezTo>
                  <a:pt x="4412552" y="195661"/>
                  <a:pt x="4396359" y="207091"/>
                  <a:pt x="4381596" y="220522"/>
                </a:cubicBezTo>
                <a:cubicBezTo>
                  <a:pt x="4366165" y="233095"/>
                  <a:pt x="4352449" y="247573"/>
                  <a:pt x="4338352" y="261670"/>
                </a:cubicBezTo>
                <a:cubicBezTo>
                  <a:pt x="4325303" y="276719"/>
                  <a:pt x="4311872" y="291483"/>
                  <a:pt x="4300347" y="307866"/>
                </a:cubicBezTo>
                <a:cubicBezTo>
                  <a:pt x="4276725" y="339965"/>
                  <a:pt x="4256437" y="374922"/>
                  <a:pt x="4241673" y="411974"/>
                </a:cubicBezTo>
                <a:lnTo>
                  <a:pt x="4235863" y="425785"/>
                </a:lnTo>
                <a:cubicBezTo>
                  <a:pt x="4234148" y="430453"/>
                  <a:pt x="4232624" y="435215"/>
                  <a:pt x="4231005" y="439978"/>
                </a:cubicBezTo>
                <a:cubicBezTo>
                  <a:pt x="4227957" y="449503"/>
                  <a:pt x="4224528" y="458837"/>
                  <a:pt x="4221766" y="468362"/>
                </a:cubicBezTo>
                <a:cubicBezTo>
                  <a:pt x="4217099" y="487698"/>
                  <a:pt x="4211479" y="506843"/>
                  <a:pt x="4208812" y="526560"/>
                </a:cubicBezTo>
                <a:cubicBezTo>
                  <a:pt x="4207288" y="536371"/>
                  <a:pt x="4205193" y="546086"/>
                  <a:pt x="4204240" y="555992"/>
                </a:cubicBezTo>
                <a:lnTo>
                  <a:pt x="4201478" y="585520"/>
                </a:lnTo>
                <a:cubicBezTo>
                  <a:pt x="4200239" y="595330"/>
                  <a:pt x="4200239" y="605236"/>
                  <a:pt x="4199954" y="615142"/>
                </a:cubicBezTo>
                <a:lnTo>
                  <a:pt x="4199192" y="644765"/>
                </a:lnTo>
                <a:cubicBezTo>
                  <a:pt x="4200430" y="668387"/>
                  <a:pt x="4200239" y="692295"/>
                  <a:pt x="4203287" y="715726"/>
                </a:cubicBezTo>
                <a:cubicBezTo>
                  <a:pt x="4204526" y="727442"/>
                  <a:pt x="4205478" y="739253"/>
                  <a:pt x="4207097" y="750969"/>
                </a:cubicBezTo>
                <a:lnTo>
                  <a:pt x="4212717" y="785926"/>
                </a:lnTo>
                <a:lnTo>
                  <a:pt x="4215575" y="803356"/>
                </a:lnTo>
                <a:lnTo>
                  <a:pt x="4219289" y="820597"/>
                </a:lnTo>
                <a:lnTo>
                  <a:pt x="4226719" y="855077"/>
                </a:lnTo>
                <a:cubicBezTo>
                  <a:pt x="4232339" y="877842"/>
                  <a:pt x="4238530" y="900511"/>
                  <a:pt x="4244816" y="923181"/>
                </a:cubicBezTo>
                <a:cubicBezTo>
                  <a:pt x="4252055" y="945469"/>
                  <a:pt x="4258628" y="968044"/>
                  <a:pt x="4266343" y="990142"/>
                </a:cubicBezTo>
                <a:cubicBezTo>
                  <a:pt x="4274439" y="1012049"/>
                  <a:pt x="4281964" y="1034242"/>
                  <a:pt x="4290632" y="1055959"/>
                </a:cubicBezTo>
                <a:cubicBezTo>
                  <a:pt x="4299585" y="1077581"/>
                  <a:pt x="4308062" y="1099393"/>
                  <a:pt x="4317302" y="1120825"/>
                </a:cubicBezTo>
                <a:lnTo>
                  <a:pt x="4331685" y="1152733"/>
                </a:lnTo>
                <a:lnTo>
                  <a:pt x="4346067" y="1184642"/>
                </a:lnTo>
                <a:lnTo>
                  <a:pt x="4346067" y="1184833"/>
                </a:lnTo>
                <a:cubicBezTo>
                  <a:pt x="4356545" y="1207978"/>
                  <a:pt x="4366832" y="1231029"/>
                  <a:pt x="4377214" y="1254175"/>
                </a:cubicBezTo>
                <a:cubicBezTo>
                  <a:pt x="4386644" y="1277606"/>
                  <a:pt x="4396836" y="1300847"/>
                  <a:pt x="4405694" y="1324564"/>
                </a:cubicBezTo>
                <a:cubicBezTo>
                  <a:pt x="4414266" y="1348377"/>
                  <a:pt x="4423887" y="1371808"/>
                  <a:pt x="4431316" y="1395907"/>
                </a:cubicBezTo>
                <a:lnTo>
                  <a:pt x="4443222" y="1431911"/>
                </a:lnTo>
                <a:cubicBezTo>
                  <a:pt x="4447032" y="1443913"/>
                  <a:pt x="4450271" y="1456105"/>
                  <a:pt x="4453795" y="1468297"/>
                </a:cubicBezTo>
                <a:cubicBezTo>
                  <a:pt x="4468082" y="1516779"/>
                  <a:pt x="4478751" y="1566023"/>
                  <a:pt x="4487418" y="1615553"/>
                </a:cubicBezTo>
                <a:cubicBezTo>
                  <a:pt x="4491133" y="1640413"/>
                  <a:pt x="4495229" y="1665274"/>
                  <a:pt x="4497134" y="1690229"/>
                </a:cubicBezTo>
                <a:cubicBezTo>
                  <a:pt x="4498372" y="1702707"/>
                  <a:pt x="4499896" y="1715185"/>
                  <a:pt x="4500182" y="1727758"/>
                </a:cubicBezTo>
                <a:lnTo>
                  <a:pt x="4501991" y="1765286"/>
                </a:lnTo>
                <a:cubicBezTo>
                  <a:pt x="4503420" y="1842153"/>
                  <a:pt x="4495324" y="1919020"/>
                  <a:pt x="4475703" y="1992934"/>
                </a:cubicBezTo>
                <a:cubicBezTo>
                  <a:pt x="4465130" y="2029605"/>
                  <a:pt x="4453033" y="2065990"/>
                  <a:pt x="4436555" y="2100376"/>
                </a:cubicBezTo>
                <a:cubicBezTo>
                  <a:pt x="4429030" y="2117902"/>
                  <a:pt x="4419505" y="2134475"/>
                  <a:pt x="4410552" y="2151335"/>
                </a:cubicBezTo>
                <a:cubicBezTo>
                  <a:pt x="4406170" y="2159812"/>
                  <a:pt x="4400646" y="2167622"/>
                  <a:pt x="4395693" y="2175814"/>
                </a:cubicBezTo>
                <a:cubicBezTo>
                  <a:pt x="4390549" y="2183815"/>
                  <a:pt x="4385882" y="2192197"/>
                  <a:pt x="4380071" y="2199817"/>
                </a:cubicBezTo>
                <a:lnTo>
                  <a:pt x="4363403" y="2223058"/>
                </a:lnTo>
                <a:cubicBezTo>
                  <a:pt x="4357878" y="2230868"/>
                  <a:pt x="4351496" y="2238012"/>
                  <a:pt x="4345591" y="2245441"/>
                </a:cubicBezTo>
                <a:cubicBezTo>
                  <a:pt x="4333971" y="2260586"/>
                  <a:pt x="4320540" y="2274302"/>
                  <a:pt x="4307681" y="2288494"/>
                </a:cubicBezTo>
                <a:cubicBezTo>
                  <a:pt x="4280916" y="2315831"/>
                  <a:pt x="4252818" y="2341930"/>
                  <a:pt x="4222242" y="2365266"/>
                </a:cubicBezTo>
                <a:cubicBezTo>
                  <a:pt x="4192334" y="2389364"/>
                  <a:pt x="4159949" y="2410224"/>
                  <a:pt x="4127278" y="2430512"/>
                </a:cubicBezTo>
                <a:cubicBezTo>
                  <a:pt x="4110514" y="2440037"/>
                  <a:pt x="4093940" y="2449848"/>
                  <a:pt x="4076891" y="2458802"/>
                </a:cubicBezTo>
                <a:cubicBezTo>
                  <a:pt x="4059651" y="2467374"/>
                  <a:pt x="4042696" y="2476709"/>
                  <a:pt x="4024979" y="2484424"/>
                </a:cubicBezTo>
                <a:lnTo>
                  <a:pt x="3998595" y="2496520"/>
                </a:lnTo>
                <a:cubicBezTo>
                  <a:pt x="3989832" y="2500521"/>
                  <a:pt x="3980784" y="2503950"/>
                  <a:pt x="3971830" y="2507665"/>
                </a:cubicBezTo>
                <a:lnTo>
                  <a:pt x="3944969" y="2518619"/>
                </a:lnTo>
                <a:lnTo>
                  <a:pt x="3917728" y="2528620"/>
                </a:lnTo>
                <a:cubicBezTo>
                  <a:pt x="3881438" y="2542050"/>
                  <a:pt x="3844385" y="2553575"/>
                  <a:pt x="3807047" y="2564148"/>
                </a:cubicBezTo>
                <a:cubicBezTo>
                  <a:pt x="3769709" y="2574721"/>
                  <a:pt x="3731990" y="2583865"/>
                  <a:pt x="3693986" y="2592056"/>
                </a:cubicBezTo>
                <a:cubicBezTo>
                  <a:pt x="3655981" y="2600152"/>
                  <a:pt x="3617690" y="2607106"/>
                  <a:pt x="3579305" y="2613202"/>
                </a:cubicBezTo>
                <a:cubicBezTo>
                  <a:pt x="3540824" y="2619107"/>
                  <a:pt x="3502247" y="2624251"/>
                  <a:pt x="3463576" y="2628346"/>
                </a:cubicBezTo>
                <a:cubicBezTo>
                  <a:pt x="3444240" y="2630728"/>
                  <a:pt x="3424809" y="2632156"/>
                  <a:pt x="3405378" y="2633871"/>
                </a:cubicBezTo>
                <a:cubicBezTo>
                  <a:pt x="3385947" y="2635776"/>
                  <a:pt x="3366516" y="2637014"/>
                  <a:pt x="3347085" y="2638157"/>
                </a:cubicBezTo>
                <a:cubicBezTo>
                  <a:pt x="3327654" y="2639491"/>
                  <a:pt x="3308223" y="2640634"/>
                  <a:pt x="3288697" y="2641301"/>
                </a:cubicBezTo>
                <a:cubicBezTo>
                  <a:pt x="3269171" y="2642062"/>
                  <a:pt x="3249740" y="2643110"/>
                  <a:pt x="3230213" y="2643301"/>
                </a:cubicBezTo>
                <a:cubicBezTo>
                  <a:pt x="3210687" y="2643586"/>
                  <a:pt x="3191256" y="2644349"/>
                  <a:pt x="3171730" y="2644253"/>
                </a:cubicBezTo>
                <a:lnTo>
                  <a:pt x="3113246" y="2644253"/>
                </a:lnTo>
                <a:cubicBezTo>
                  <a:pt x="3055239" y="2643301"/>
                  <a:pt x="2997232" y="2641777"/>
                  <a:pt x="2939320" y="2638252"/>
                </a:cubicBezTo>
                <a:cubicBezTo>
                  <a:pt x="2910364" y="2636824"/>
                  <a:pt x="2881408" y="2634728"/>
                  <a:pt x="2852452" y="2632442"/>
                </a:cubicBezTo>
                <a:cubicBezTo>
                  <a:pt x="2823496" y="2630537"/>
                  <a:pt x="2794635" y="2627394"/>
                  <a:pt x="2765679" y="2624822"/>
                </a:cubicBezTo>
                <a:cubicBezTo>
                  <a:pt x="2736818" y="2622060"/>
                  <a:pt x="2707958" y="2618631"/>
                  <a:pt x="2679097" y="2615488"/>
                </a:cubicBezTo>
                <a:cubicBezTo>
                  <a:pt x="2650331" y="2611773"/>
                  <a:pt x="2621471" y="2608344"/>
                  <a:pt x="2592705" y="2604344"/>
                </a:cubicBezTo>
                <a:cubicBezTo>
                  <a:pt x="2563940" y="2600057"/>
                  <a:pt x="2535174" y="2596438"/>
                  <a:pt x="2506504" y="2591675"/>
                </a:cubicBezTo>
                <a:cubicBezTo>
                  <a:pt x="2477834" y="2587103"/>
                  <a:pt x="2449068" y="2582722"/>
                  <a:pt x="2420493" y="2577578"/>
                </a:cubicBezTo>
                <a:cubicBezTo>
                  <a:pt x="2391918" y="2572625"/>
                  <a:pt x="2363248" y="2567672"/>
                  <a:pt x="2334768" y="2562052"/>
                </a:cubicBezTo>
                <a:lnTo>
                  <a:pt x="2292001" y="2553861"/>
                </a:lnTo>
                <a:lnTo>
                  <a:pt x="2249329" y="2545098"/>
                </a:lnTo>
                <a:cubicBezTo>
                  <a:pt x="2220849" y="2539383"/>
                  <a:pt x="2192465" y="2533192"/>
                  <a:pt x="2164080" y="2526810"/>
                </a:cubicBezTo>
                <a:cubicBezTo>
                  <a:pt x="2135696" y="2520714"/>
                  <a:pt x="2107406" y="2513951"/>
                  <a:pt x="2079117" y="2507188"/>
                </a:cubicBezTo>
                <a:cubicBezTo>
                  <a:pt x="2050828" y="2500711"/>
                  <a:pt x="2022634" y="2493377"/>
                  <a:pt x="1994440" y="2486329"/>
                </a:cubicBezTo>
                <a:cubicBezTo>
                  <a:pt x="1966246" y="2479471"/>
                  <a:pt x="1938242" y="2471660"/>
                  <a:pt x="1910144" y="2464231"/>
                </a:cubicBezTo>
                <a:cubicBezTo>
                  <a:pt x="1882045" y="2456992"/>
                  <a:pt x="1854137" y="2448705"/>
                  <a:pt x="1826133" y="2440894"/>
                </a:cubicBezTo>
                <a:cubicBezTo>
                  <a:pt x="1798130" y="2433179"/>
                  <a:pt x="1770317" y="2424511"/>
                  <a:pt x="1742408" y="2416415"/>
                </a:cubicBezTo>
                <a:lnTo>
                  <a:pt x="1715738" y="2408510"/>
                </a:lnTo>
                <a:lnTo>
                  <a:pt x="1715453" y="2408510"/>
                </a:lnTo>
                <a:cubicBezTo>
                  <a:pt x="1715453" y="2408510"/>
                  <a:pt x="1715357" y="2408510"/>
                  <a:pt x="1715357" y="2408510"/>
                </a:cubicBezTo>
                <a:lnTo>
                  <a:pt x="1588961" y="2489758"/>
                </a:lnTo>
                <a:cubicBezTo>
                  <a:pt x="1568863" y="2502235"/>
                  <a:pt x="1549813" y="2516333"/>
                  <a:pt x="1530287" y="2529763"/>
                </a:cubicBezTo>
                <a:lnTo>
                  <a:pt x="1472184" y="2570435"/>
                </a:lnTo>
                <a:lnTo>
                  <a:pt x="1443133" y="2590818"/>
                </a:lnTo>
                <a:cubicBezTo>
                  <a:pt x="1433513" y="2597676"/>
                  <a:pt x="1424273" y="2605105"/>
                  <a:pt x="1414748" y="2612154"/>
                </a:cubicBezTo>
                <a:lnTo>
                  <a:pt x="1358265" y="2655112"/>
                </a:lnTo>
                <a:lnTo>
                  <a:pt x="1329976" y="2676638"/>
                </a:lnTo>
                <a:lnTo>
                  <a:pt x="1315879" y="2687402"/>
                </a:lnTo>
                <a:lnTo>
                  <a:pt x="1302163" y="2698641"/>
                </a:lnTo>
                <a:lnTo>
                  <a:pt x="1247394" y="2743789"/>
                </a:lnTo>
                <a:cubicBezTo>
                  <a:pt x="1101757" y="2864662"/>
                  <a:pt x="964883" y="2996297"/>
                  <a:pt x="838771" y="3137553"/>
                </a:cubicBezTo>
                <a:cubicBezTo>
                  <a:pt x="712851" y="3278904"/>
                  <a:pt x="596932" y="3429304"/>
                  <a:pt x="494157" y="3588371"/>
                </a:cubicBezTo>
                <a:cubicBezTo>
                  <a:pt x="391763" y="3747629"/>
                  <a:pt x="299847" y="3913841"/>
                  <a:pt x="223171" y="4087005"/>
                </a:cubicBezTo>
                <a:lnTo>
                  <a:pt x="204311" y="4129391"/>
                </a:lnTo>
                <a:cubicBezTo>
                  <a:pt x="192596" y="4157966"/>
                  <a:pt x="173831" y="4200448"/>
                  <a:pt x="151924" y="4258264"/>
                </a:cubicBezTo>
                <a:cubicBezTo>
                  <a:pt x="140399" y="4286935"/>
                  <a:pt x="129064" y="4319796"/>
                  <a:pt x="115729" y="4356086"/>
                </a:cubicBezTo>
                <a:cubicBezTo>
                  <a:pt x="103251" y="4392662"/>
                  <a:pt x="89535" y="4432953"/>
                  <a:pt x="76010" y="4477339"/>
                </a:cubicBezTo>
                <a:cubicBezTo>
                  <a:pt x="62389" y="4521726"/>
                  <a:pt x="48673" y="4570018"/>
                  <a:pt x="35528" y="4622596"/>
                </a:cubicBezTo>
                <a:cubicBezTo>
                  <a:pt x="22479" y="4675364"/>
                  <a:pt x="9620" y="4731467"/>
                  <a:pt x="0" y="4793951"/>
                </a:cubicBezTo>
                <a:lnTo>
                  <a:pt x="9430" y="4795189"/>
                </a:lnTo>
                <a:lnTo>
                  <a:pt x="18860" y="4796427"/>
                </a:lnTo>
                <a:lnTo>
                  <a:pt x="28289" y="4797665"/>
                </a:lnTo>
                <a:lnTo>
                  <a:pt x="37719" y="4798904"/>
                </a:lnTo>
                <a:cubicBezTo>
                  <a:pt x="46863" y="4739849"/>
                  <a:pt x="59626" y="4683365"/>
                  <a:pt x="72485" y="4631740"/>
                </a:cubicBezTo>
                <a:cubicBezTo>
                  <a:pt x="85439" y="4579924"/>
                  <a:pt x="98965" y="4532204"/>
                  <a:pt x="112490" y="4488389"/>
                </a:cubicBezTo>
                <a:cubicBezTo>
                  <a:pt x="125825" y="4444574"/>
                  <a:pt x="139351" y="4404759"/>
                  <a:pt x="151733" y="4368564"/>
                </a:cubicBezTo>
                <a:cubicBezTo>
                  <a:pt x="164878" y="4332655"/>
                  <a:pt x="176022" y="4300175"/>
                  <a:pt x="187452" y="4271790"/>
                </a:cubicBezTo>
                <a:cubicBezTo>
                  <a:pt x="209074" y="4214640"/>
                  <a:pt x="227648" y="4172635"/>
                  <a:pt x="239268" y="4144345"/>
                </a:cubicBezTo>
                <a:lnTo>
                  <a:pt x="257937" y="4102435"/>
                </a:lnTo>
                <a:cubicBezTo>
                  <a:pt x="333756" y="3931081"/>
                  <a:pt x="424720" y="3766584"/>
                  <a:pt x="526066" y="3608945"/>
                </a:cubicBezTo>
                <a:cubicBezTo>
                  <a:pt x="627793" y="3451497"/>
                  <a:pt x="742474" y="3302621"/>
                  <a:pt x="867156" y="3162699"/>
                </a:cubicBezTo>
                <a:cubicBezTo>
                  <a:pt x="991934" y="3022872"/>
                  <a:pt x="1127379" y="2892570"/>
                  <a:pt x="1271683" y="2772936"/>
                </a:cubicBezTo>
                <a:lnTo>
                  <a:pt x="1325975" y="2728264"/>
                </a:lnTo>
                <a:lnTo>
                  <a:pt x="1339501" y="2717119"/>
                </a:lnTo>
                <a:lnTo>
                  <a:pt x="1353503" y="2706452"/>
                </a:lnTo>
                <a:lnTo>
                  <a:pt x="1381506" y="2685211"/>
                </a:lnTo>
                <a:lnTo>
                  <a:pt x="1437418" y="2642634"/>
                </a:lnTo>
                <a:cubicBezTo>
                  <a:pt x="1446752" y="2635585"/>
                  <a:pt x="1455992" y="2628346"/>
                  <a:pt x="1465517" y="2621488"/>
                </a:cubicBezTo>
                <a:lnTo>
                  <a:pt x="1494282" y="2601295"/>
                </a:lnTo>
                <a:lnTo>
                  <a:pt x="1551908" y="2561005"/>
                </a:lnTo>
                <a:cubicBezTo>
                  <a:pt x="1571149" y="2547670"/>
                  <a:pt x="1590008" y="2533668"/>
                  <a:pt x="1610011" y="2521381"/>
                </a:cubicBezTo>
                <a:lnTo>
                  <a:pt x="1721358" y="2449848"/>
                </a:lnTo>
                <a:lnTo>
                  <a:pt x="1721358" y="2449848"/>
                </a:lnTo>
                <a:cubicBezTo>
                  <a:pt x="1721358" y="2449848"/>
                  <a:pt x="1721358" y="2449848"/>
                  <a:pt x="1721358" y="2449848"/>
                </a:cubicBezTo>
                <a:cubicBezTo>
                  <a:pt x="1721358" y="2449848"/>
                  <a:pt x="1721168" y="2449848"/>
                  <a:pt x="1722311" y="2450134"/>
                </a:cubicBezTo>
                <a:lnTo>
                  <a:pt x="1731550" y="2452896"/>
                </a:lnTo>
                <a:cubicBezTo>
                  <a:pt x="1759649" y="2461087"/>
                  <a:pt x="1787557" y="2469755"/>
                  <a:pt x="1815751" y="2477470"/>
                </a:cubicBezTo>
                <a:cubicBezTo>
                  <a:pt x="1843945" y="2485281"/>
                  <a:pt x="1871948" y="2493568"/>
                  <a:pt x="1900238" y="2500902"/>
                </a:cubicBezTo>
                <a:cubicBezTo>
                  <a:pt x="1928527" y="2508331"/>
                  <a:pt x="1956721" y="2516142"/>
                  <a:pt x="1985105" y="2523095"/>
                </a:cubicBezTo>
                <a:cubicBezTo>
                  <a:pt x="2013490" y="2530144"/>
                  <a:pt x="2041779" y="2537573"/>
                  <a:pt x="2070259" y="2544050"/>
                </a:cubicBezTo>
                <a:cubicBezTo>
                  <a:pt x="2098739" y="2550813"/>
                  <a:pt x="2127123" y="2557576"/>
                  <a:pt x="2155793" y="2563767"/>
                </a:cubicBezTo>
                <a:cubicBezTo>
                  <a:pt x="2184368" y="2570149"/>
                  <a:pt x="2212943" y="2576435"/>
                  <a:pt x="2241614" y="2582150"/>
                </a:cubicBezTo>
                <a:lnTo>
                  <a:pt x="2284571" y="2591009"/>
                </a:lnTo>
                <a:lnTo>
                  <a:pt x="2327720" y="2599200"/>
                </a:lnTo>
                <a:cubicBezTo>
                  <a:pt x="2356390" y="2604820"/>
                  <a:pt x="2385251" y="2609868"/>
                  <a:pt x="2414111" y="2614916"/>
                </a:cubicBezTo>
                <a:cubicBezTo>
                  <a:pt x="2442877" y="2620155"/>
                  <a:pt x="2471833" y="2624536"/>
                  <a:pt x="2500694" y="2629109"/>
                </a:cubicBezTo>
                <a:cubicBezTo>
                  <a:pt x="2529554" y="2633871"/>
                  <a:pt x="2558605" y="2637586"/>
                  <a:pt x="2587562" y="2641872"/>
                </a:cubicBezTo>
                <a:cubicBezTo>
                  <a:pt x="2616518" y="2645872"/>
                  <a:pt x="2645664" y="2649302"/>
                  <a:pt x="2674620" y="2653016"/>
                </a:cubicBezTo>
                <a:cubicBezTo>
                  <a:pt x="2703767" y="2656160"/>
                  <a:pt x="2732818" y="2659588"/>
                  <a:pt x="2761964" y="2662446"/>
                </a:cubicBezTo>
                <a:cubicBezTo>
                  <a:pt x="2791111" y="2665018"/>
                  <a:pt x="2820257" y="2668161"/>
                  <a:pt x="2849499" y="2670161"/>
                </a:cubicBezTo>
                <a:cubicBezTo>
                  <a:pt x="2878741" y="2672447"/>
                  <a:pt x="2907887" y="2674543"/>
                  <a:pt x="2937129" y="2676067"/>
                </a:cubicBezTo>
                <a:cubicBezTo>
                  <a:pt x="2995613" y="2679686"/>
                  <a:pt x="3054191" y="2681210"/>
                  <a:pt x="3112770" y="2682163"/>
                </a:cubicBezTo>
                <a:lnTo>
                  <a:pt x="3171920" y="2682163"/>
                </a:lnTo>
                <a:cubicBezTo>
                  <a:pt x="3191637" y="2682163"/>
                  <a:pt x="3211354" y="2681496"/>
                  <a:pt x="3231071" y="2681115"/>
                </a:cubicBezTo>
                <a:cubicBezTo>
                  <a:pt x="3250787" y="2680925"/>
                  <a:pt x="3270504" y="2679781"/>
                  <a:pt x="3290221" y="2679019"/>
                </a:cubicBezTo>
                <a:cubicBezTo>
                  <a:pt x="3309938" y="2678353"/>
                  <a:pt x="3329654" y="2677210"/>
                  <a:pt x="3349371" y="2675781"/>
                </a:cubicBezTo>
                <a:cubicBezTo>
                  <a:pt x="3369088" y="2674543"/>
                  <a:pt x="3388805" y="2673304"/>
                  <a:pt x="3408426" y="2671400"/>
                </a:cubicBezTo>
                <a:cubicBezTo>
                  <a:pt x="3428143" y="2669685"/>
                  <a:pt x="3447764" y="2668161"/>
                  <a:pt x="3467386" y="2665780"/>
                </a:cubicBezTo>
                <a:cubicBezTo>
                  <a:pt x="3506724" y="2661684"/>
                  <a:pt x="3545872" y="2656445"/>
                  <a:pt x="3585020" y="2650349"/>
                </a:cubicBezTo>
                <a:cubicBezTo>
                  <a:pt x="3624072" y="2644253"/>
                  <a:pt x="3663029" y="2637110"/>
                  <a:pt x="3701796" y="2628823"/>
                </a:cubicBezTo>
                <a:cubicBezTo>
                  <a:pt x="3740468" y="2620441"/>
                  <a:pt x="3779044" y="2611106"/>
                  <a:pt x="3817239" y="2600343"/>
                </a:cubicBezTo>
                <a:cubicBezTo>
                  <a:pt x="3855434" y="2589485"/>
                  <a:pt x="3893344" y="2577674"/>
                  <a:pt x="3930587" y="2563958"/>
                </a:cubicBezTo>
                <a:lnTo>
                  <a:pt x="3958590" y="2553670"/>
                </a:lnTo>
                <a:lnTo>
                  <a:pt x="3986213" y="2542431"/>
                </a:lnTo>
                <a:cubicBezTo>
                  <a:pt x="3995357" y="2538621"/>
                  <a:pt x="4004691" y="2535097"/>
                  <a:pt x="4013740" y="2530906"/>
                </a:cubicBezTo>
                <a:lnTo>
                  <a:pt x="4040886" y="2518523"/>
                </a:lnTo>
                <a:cubicBezTo>
                  <a:pt x="4059174" y="2510618"/>
                  <a:pt x="4076605" y="2500902"/>
                  <a:pt x="4094512" y="2492044"/>
                </a:cubicBezTo>
                <a:cubicBezTo>
                  <a:pt x="4112133" y="2482804"/>
                  <a:pt x="4129373" y="2472613"/>
                  <a:pt x="4146709" y="2462802"/>
                </a:cubicBezTo>
                <a:cubicBezTo>
                  <a:pt x="4180618" y="2441752"/>
                  <a:pt x="4214337" y="2420035"/>
                  <a:pt x="4245579" y="2394889"/>
                </a:cubicBezTo>
                <a:cubicBezTo>
                  <a:pt x="4277392" y="2370600"/>
                  <a:pt x="4306920" y="2343168"/>
                  <a:pt x="4335018" y="2314498"/>
                </a:cubicBezTo>
                <a:cubicBezTo>
                  <a:pt x="4348544" y="2299639"/>
                  <a:pt x="4362546" y="2285161"/>
                  <a:pt x="4374928" y="2269254"/>
                </a:cubicBezTo>
                <a:cubicBezTo>
                  <a:pt x="4381119" y="2261348"/>
                  <a:pt x="4387882" y="2253823"/>
                  <a:pt x="4393692" y="2245632"/>
                </a:cubicBezTo>
                <a:lnTo>
                  <a:pt x="4411313" y="2221057"/>
                </a:lnTo>
                <a:cubicBezTo>
                  <a:pt x="4417410" y="2213056"/>
                  <a:pt x="4422362" y="2204198"/>
                  <a:pt x="4427792" y="2195721"/>
                </a:cubicBezTo>
                <a:cubicBezTo>
                  <a:pt x="4433030" y="2187053"/>
                  <a:pt x="4438841" y="2178862"/>
                  <a:pt x="4443508" y="2169908"/>
                </a:cubicBezTo>
                <a:cubicBezTo>
                  <a:pt x="4453033" y="2152192"/>
                  <a:pt x="4463034" y="2134666"/>
                  <a:pt x="4471035" y="2116092"/>
                </a:cubicBezTo>
                <a:cubicBezTo>
                  <a:pt x="4488466" y="2079706"/>
                  <a:pt x="4501325" y="2041321"/>
                  <a:pt x="4512374" y="2002649"/>
                </a:cubicBezTo>
                <a:cubicBezTo>
                  <a:pt x="4533043" y="1924830"/>
                  <a:pt x="4541520" y="1844153"/>
                  <a:pt x="4539996" y="1764238"/>
                </a:cubicBezTo>
                <a:lnTo>
                  <a:pt x="4538091" y="1725186"/>
                </a:lnTo>
                <a:cubicBezTo>
                  <a:pt x="4537710" y="1712137"/>
                  <a:pt x="4536186" y="1699278"/>
                  <a:pt x="4534948" y="1686324"/>
                </a:cubicBezTo>
                <a:cubicBezTo>
                  <a:pt x="4532853" y="1660321"/>
                  <a:pt x="4528757" y="1634698"/>
                  <a:pt x="4524852" y="1609076"/>
                </a:cubicBezTo>
                <a:cubicBezTo>
                  <a:pt x="4515898" y="1557927"/>
                  <a:pt x="4504849" y="1507254"/>
                  <a:pt x="4490276" y="1457629"/>
                </a:cubicBezTo>
                <a:cubicBezTo>
                  <a:pt x="4486656" y="1445246"/>
                  <a:pt x="4483322" y="1432673"/>
                  <a:pt x="4479417" y="1420386"/>
                </a:cubicBezTo>
                <a:lnTo>
                  <a:pt x="4467225" y="1383619"/>
                </a:lnTo>
                <a:cubicBezTo>
                  <a:pt x="4459510" y="1358950"/>
                  <a:pt x="4449795" y="1335042"/>
                  <a:pt x="4441031" y="1310753"/>
                </a:cubicBezTo>
                <a:cubicBezTo>
                  <a:pt x="4431983" y="1286560"/>
                  <a:pt x="4421601" y="1262938"/>
                  <a:pt x="4411980" y="1239030"/>
                </a:cubicBezTo>
                <a:cubicBezTo>
                  <a:pt x="4401693" y="1215408"/>
                  <a:pt x="4390930" y="1191976"/>
                  <a:pt x="4380357" y="1168450"/>
                </a:cubicBezTo>
                <a:lnTo>
                  <a:pt x="4380357" y="1168259"/>
                </a:lnTo>
                <a:cubicBezTo>
                  <a:pt x="4375595" y="1157782"/>
                  <a:pt x="4370832" y="1147304"/>
                  <a:pt x="4366165" y="1136827"/>
                </a:cubicBezTo>
                <a:lnTo>
                  <a:pt x="4352068" y="1105394"/>
                </a:lnTo>
                <a:cubicBezTo>
                  <a:pt x="4343019" y="1084344"/>
                  <a:pt x="4334637" y="1063008"/>
                  <a:pt x="4325874" y="1041767"/>
                </a:cubicBezTo>
                <a:cubicBezTo>
                  <a:pt x="4317397" y="1020526"/>
                  <a:pt x="4310063" y="998809"/>
                  <a:pt x="4302157" y="977378"/>
                </a:cubicBezTo>
                <a:cubicBezTo>
                  <a:pt x="4294632" y="955756"/>
                  <a:pt x="4288155" y="933849"/>
                  <a:pt x="4281202" y="912132"/>
                </a:cubicBezTo>
                <a:cubicBezTo>
                  <a:pt x="4275106" y="890129"/>
                  <a:pt x="4269105" y="868126"/>
                  <a:pt x="4263581" y="846028"/>
                </a:cubicBezTo>
                <a:lnTo>
                  <a:pt x="4256437" y="812691"/>
                </a:lnTo>
                <a:lnTo>
                  <a:pt x="4252818" y="796022"/>
                </a:lnTo>
                <a:lnTo>
                  <a:pt x="4250055" y="779258"/>
                </a:lnTo>
                <a:lnTo>
                  <a:pt x="4244626" y="745635"/>
                </a:lnTo>
                <a:cubicBezTo>
                  <a:pt x="4243102" y="734395"/>
                  <a:pt x="4242245" y="723156"/>
                  <a:pt x="4241006" y="711821"/>
                </a:cubicBezTo>
                <a:cubicBezTo>
                  <a:pt x="4238054" y="689342"/>
                  <a:pt x="4238244" y="666768"/>
                  <a:pt x="4237006" y="644194"/>
                </a:cubicBezTo>
                <a:lnTo>
                  <a:pt x="4237673" y="616190"/>
                </a:lnTo>
                <a:cubicBezTo>
                  <a:pt x="4237863" y="606856"/>
                  <a:pt x="4237959" y="597521"/>
                  <a:pt x="4239102" y="588282"/>
                </a:cubicBezTo>
                <a:lnTo>
                  <a:pt x="4241769" y="560469"/>
                </a:lnTo>
                <a:cubicBezTo>
                  <a:pt x="4242626" y="551230"/>
                  <a:pt x="4244721" y="542086"/>
                  <a:pt x="4246055" y="532942"/>
                </a:cubicBezTo>
                <a:cubicBezTo>
                  <a:pt x="4248531" y="514463"/>
                  <a:pt x="4253865" y="496651"/>
                  <a:pt x="4258056" y="478649"/>
                </a:cubicBezTo>
                <a:cubicBezTo>
                  <a:pt x="4260628" y="469791"/>
                  <a:pt x="4263866" y="461123"/>
                  <a:pt x="4266629" y="452265"/>
                </a:cubicBezTo>
                <a:cubicBezTo>
                  <a:pt x="4268153" y="447883"/>
                  <a:pt x="4269486" y="443502"/>
                  <a:pt x="4271105" y="439120"/>
                </a:cubicBezTo>
                <a:lnTo>
                  <a:pt x="4276535" y="426357"/>
                </a:lnTo>
                <a:cubicBezTo>
                  <a:pt x="4290155" y="391972"/>
                  <a:pt x="4308920" y="359872"/>
                  <a:pt x="4330732" y="330154"/>
                </a:cubicBezTo>
                <a:cubicBezTo>
                  <a:pt x="4341305" y="315010"/>
                  <a:pt x="4353782" y="301294"/>
                  <a:pt x="4365879" y="287292"/>
                </a:cubicBezTo>
                <a:cubicBezTo>
                  <a:pt x="4379024" y="274243"/>
                  <a:pt x="4391692" y="260812"/>
                  <a:pt x="4406170" y="249001"/>
                </a:cubicBezTo>
                <a:cubicBezTo>
                  <a:pt x="4419886" y="236428"/>
                  <a:pt x="4435126" y="225760"/>
                  <a:pt x="4449985" y="214521"/>
                </a:cubicBezTo>
                <a:cubicBezTo>
                  <a:pt x="4465511" y="204139"/>
                  <a:pt x="4480846" y="193566"/>
                  <a:pt x="4497229" y="184422"/>
                </a:cubicBezTo>
                <a:cubicBezTo>
                  <a:pt x="4513136" y="174611"/>
                  <a:pt x="4530090" y="166515"/>
                  <a:pt x="4546759" y="157847"/>
                </a:cubicBezTo>
                <a:cubicBezTo>
                  <a:pt x="4563904" y="150132"/>
                  <a:pt x="4580763" y="141845"/>
                  <a:pt x="4598385" y="135082"/>
                </a:cubicBezTo>
                <a:cubicBezTo>
                  <a:pt x="4668012" y="106412"/>
                  <a:pt x="4741640" y="86981"/>
                  <a:pt x="4816031" y="72122"/>
                </a:cubicBezTo>
                <a:cubicBezTo>
                  <a:pt x="4926616" y="50691"/>
                  <a:pt x="5039582" y="41071"/>
                  <a:pt x="5152644" y="38308"/>
                </a:cubicBezTo>
                <a:lnTo>
                  <a:pt x="5192554" y="37642"/>
                </a:lnTo>
                <a:cubicBezTo>
                  <a:pt x="5219129" y="37642"/>
                  <a:pt x="5259039" y="37261"/>
                  <a:pt x="5312283" y="38975"/>
                </a:cubicBezTo>
                <a:cubicBezTo>
                  <a:pt x="5365528" y="40594"/>
                  <a:pt x="5432012" y="44023"/>
                  <a:pt x="5511641" y="51167"/>
                </a:cubicBezTo>
                <a:cubicBezTo>
                  <a:pt x="5591080" y="58406"/>
                  <a:pt x="5684330" y="68884"/>
                  <a:pt x="5788533" y="87362"/>
                </a:cubicBezTo>
                <a:close/>
              </a:path>
            </a:pathLst>
          </a:custGeom>
          <a:gradFill flip="none" rotWithShape="1">
            <a:gsLst>
              <a:gs pos="88000">
                <a:schemeClr val="accent2">
                  <a:alpha val="0"/>
                </a:schemeClr>
              </a:gs>
              <a:gs pos="13000">
                <a:schemeClr val="accent2">
                  <a:alpha val="0"/>
                </a:schemeClr>
              </a:gs>
              <a:gs pos="61000">
                <a:srgbClr val="12ABDB"/>
              </a:gs>
              <a:gs pos="36000">
                <a:srgbClr val="12ABDB"/>
              </a:gs>
            </a:gsLst>
            <a:lin ang="8100000" scaled="1"/>
            <a:tileRect/>
          </a:gradFill>
          <a:ln w="0" cap="flat">
            <a:noFill/>
            <a:prstDash val="solid"/>
            <a:miter/>
          </a:ln>
        </p:spPr>
        <p:txBody>
          <a:bodyPr rtlCol="0" anchor="ctr"/>
          <a:lstStyle/>
          <a:p>
            <a:endParaRPr lang="en-US"/>
          </a:p>
        </p:txBody>
      </p:sp>
      <p:sp>
        <p:nvSpPr>
          <p:cNvPr id="18" name="Text Placeholder 17">
            <a:extLst>
              <a:ext uri="{FF2B5EF4-FFF2-40B4-BE49-F238E27FC236}">
                <a16:creationId xmlns:a16="http://schemas.microsoft.com/office/drawing/2014/main" id="{D74810FA-D842-59F4-7D96-E420ED9A5968}"/>
              </a:ext>
            </a:extLst>
          </p:cNvPr>
          <p:cNvSpPr>
            <a:spLocks noGrp="1"/>
          </p:cNvSpPr>
          <p:nvPr>
            <p:ph type="body" sz="quarter" idx="10" hasCustomPrompt="1"/>
          </p:nvPr>
        </p:nvSpPr>
        <p:spPr>
          <a:xfrm>
            <a:off x="407987" y="885825"/>
            <a:ext cx="4606925" cy="2113007"/>
          </a:xfrm>
        </p:spPr>
        <p:txBody>
          <a:bodyPr anchor="b"/>
          <a:lstStyle>
            <a:lvl1pPr>
              <a:defRPr kumimoji="0" lang="en-US" sz="3600" b="0" i="0" u="none" strike="noStrike" kern="1200" cap="none" spc="0" normalizeH="0" baseline="0" dirty="0">
                <a:ln>
                  <a:noFill/>
                </a:ln>
                <a:solidFill>
                  <a:schemeClr val="tx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tab pos="1258888" algn="l"/>
              </a:tabLst>
            </a:pPr>
            <a:r>
              <a:rPr lang="en-US"/>
              <a:t>Click to insert cover title (sentence case)</a:t>
            </a:r>
          </a:p>
        </p:txBody>
      </p:sp>
      <p:grpSp>
        <p:nvGrpSpPr>
          <p:cNvPr id="5" name="Group 4">
            <a:extLst>
              <a:ext uri="{FF2B5EF4-FFF2-40B4-BE49-F238E27FC236}">
                <a16:creationId xmlns:a16="http://schemas.microsoft.com/office/drawing/2014/main" id="{88D8C9B7-85A8-18F2-16FE-BBC5F9F8A454}"/>
              </a:ext>
            </a:extLst>
          </p:cNvPr>
          <p:cNvGrpSpPr>
            <a:grpSpLocks noChangeAspect="1"/>
          </p:cNvGrpSpPr>
          <p:nvPr userDrawn="1"/>
        </p:nvGrpSpPr>
        <p:grpSpPr>
          <a:xfrm>
            <a:off x="443568" y="6021288"/>
            <a:ext cx="1872000" cy="420870"/>
            <a:chOff x="5094083" y="5360390"/>
            <a:chExt cx="3039349" cy="683316"/>
          </a:xfrm>
        </p:grpSpPr>
        <p:sp>
          <p:nvSpPr>
            <p:cNvPr id="12" name="Freeform: Shape 11">
              <a:extLst>
                <a:ext uri="{FF2B5EF4-FFF2-40B4-BE49-F238E27FC236}">
                  <a16:creationId xmlns:a16="http://schemas.microsoft.com/office/drawing/2014/main" id="{BD67D284-CFC4-F94A-A095-83E08D5B8B4F}"/>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12">
              <a:extLst>
                <a:ext uri="{FF2B5EF4-FFF2-40B4-BE49-F238E27FC236}">
                  <a16:creationId xmlns:a16="http://schemas.microsoft.com/office/drawing/2014/main" id="{F0BC4842-1208-5C02-B4B2-F1656257E828}"/>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13">
              <a:extLst>
                <a:ext uri="{FF2B5EF4-FFF2-40B4-BE49-F238E27FC236}">
                  <a16:creationId xmlns:a16="http://schemas.microsoft.com/office/drawing/2014/main" id="{8A067074-5D87-C573-8F5C-856A7322484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15">
              <a:extLst>
                <a:ext uri="{FF2B5EF4-FFF2-40B4-BE49-F238E27FC236}">
                  <a16:creationId xmlns:a16="http://schemas.microsoft.com/office/drawing/2014/main" id="{2CB721D8-0ED8-6578-5C5C-BD364E34C11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7" name="Freeform: Shape 16">
              <a:extLst>
                <a:ext uri="{FF2B5EF4-FFF2-40B4-BE49-F238E27FC236}">
                  <a16:creationId xmlns:a16="http://schemas.microsoft.com/office/drawing/2014/main" id="{7A800C76-F0F2-8A97-3164-F489DB09C9E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grpSp>
        <p:nvGrpSpPr>
          <p:cNvPr id="19" name="Group 18">
            <a:extLst>
              <a:ext uri="{FF2B5EF4-FFF2-40B4-BE49-F238E27FC236}">
                <a16:creationId xmlns:a16="http://schemas.microsoft.com/office/drawing/2014/main" id="{BC70E480-CFCE-DB72-77EC-F68F45DB3159}"/>
              </a:ext>
            </a:extLst>
          </p:cNvPr>
          <p:cNvGrpSpPr/>
          <p:nvPr userDrawn="1"/>
        </p:nvGrpSpPr>
        <p:grpSpPr>
          <a:xfrm>
            <a:off x="2743200" y="6048828"/>
            <a:ext cx="2086118" cy="269171"/>
            <a:chOff x="353813" y="6440123"/>
            <a:chExt cx="2086118" cy="269171"/>
          </a:xfrm>
        </p:grpSpPr>
        <p:pic>
          <p:nvPicPr>
            <p:cNvPr id="20" name="Picture 19">
              <a:extLst>
                <a:ext uri="{FF2B5EF4-FFF2-40B4-BE49-F238E27FC236}">
                  <a16:creationId xmlns:a16="http://schemas.microsoft.com/office/drawing/2014/main" id="{EAC95D09-33E8-31DF-42C1-E34AA42180C5}"/>
                </a:ext>
              </a:extLst>
            </p:cNvPr>
            <p:cNvPicPr>
              <a:picLocks noChangeAspect="1"/>
            </p:cNvPicPr>
            <p:nvPr/>
          </p:nvPicPr>
          <p:blipFill rotWithShape="1">
            <a:blip r:embed="rId3"/>
            <a:srcRect l="93397"/>
            <a:stretch/>
          </p:blipFill>
          <p:spPr>
            <a:xfrm>
              <a:off x="2302193" y="6440123"/>
              <a:ext cx="137738" cy="268099"/>
            </a:xfrm>
            <a:prstGeom prst="rect">
              <a:avLst/>
            </a:prstGeom>
          </p:spPr>
        </p:pic>
        <p:pic>
          <p:nvPicPr>
            <p:cNvPr id="21" name="Picture 20">
              <a:extLst>
                <a:ext uri="{FF2B5EF4-FFF2-40B4-BE49-F238E27FC236}">
                  <a16:creationId xmlns:a16="http://schemas.microsoft.com/office/drawing/2014/main" id="{4E3809B8-3856-4A24-7AC3-2B1061B3F6DA}"/>
                </a:ext>
              </a:extLst>
            </p:cNvPr>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Lst>
            </a:blip>
            <a:srcRect l="9796" r="9936"/>
            <a:stretch/>
          </p:blipFill>
          <p:spPr>
            <a:xfrm>
              <a:off x="558165" y="6441195"/>
              <a:ext cx="1674496" cy="268099"/>
            </a:xfrm>
            <a:prstGeom prst="rect">
              <a:avLst/>
            </a:prstGeom>
          </p:spPr>
        </p:pic>
        <p:pic>
          <p:nvPicPr>
            <p:cNvPr id="22" name="Picture 21">
              <a:extLst>
                <a:ext uri="{FF2B5EF4-FFF2-40B4-BE49-F238E27FC236}">
                  <a16:creationId xmlns:a16="http://schemas.microsoft.com/office/drawing/2014/main" id="{220829F0-409F-D39C-01F6-93A35B073137}"/>
                </a:ext>
              </a:extLst>
            </p:cNvPr>
            <p:cNvPicPr>
              <a:picLocks noChangeAspect="1"/>
            </p:cNvPicPr>
            <p:nvPr/>
          </p:nvPicPr>
          <p:blipFill rotWithShape="1">
            <a:blip r:embed="rId3"/>
            <a:srcRect r="93400"/>
            <a:stretch/>
          </p:blipFill>
          <p:spPr>
            <a:xfrm>
              <a:off x="353813" y="6440123"/>
              <a:ext cx="137678" cy="268099"/>
            </a:xfrm>
            <a:prstGeom prst="rect">
              <a:avLst/>
            </a:prstGeom>
          </p:spPr>
        </p:pic>
      </p:grpSp>
      <p:cxnSp>
        <p:nvCxnSpPr>
          <p:cNvPr id="23" name="Straight Connector 22">
            <a:extLst>
              <a:ext uri="{FF2B5EF4-FFF2-40B4-BE49-F238E27FC236}">
                <a16:creationId xmlns:a16="http://schemas.microsoft.com/office/drawing/2014/main" id="{9752440D-294A-2B35-EF41-F6ECEE895E64}"/>
              </a:ext>
            </a:extLst>
          </p:cNvPr>
          <p:cNvCxnSpPr>
            <a:cxnSpLocks/>
          </p:cNvCxnSpPr>
          <p:nvPr userDrawn="1"/>
        </p:nvCxnSpPr>
        <p:spPr>
          <a:xfrm>
            <a:off x="2514600" y="6019800"/>
            <a:ext cx="0" cy="33745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B88B8932-0B91-6B39-0EA0-C2BBFA352984}"/>
              </a:ext>
            </a:extLst>
          </p:cNvPr>
          <p:cNvGrpSpPr/>
          <p:nvPr userDrawn="1"/>
        </p:nvGrpSpPr>
        <p:grpSpPr>
          <a:xfrm>
            <a:off x="8915400" y="5867400"/>
            <a:ext cx="2866205" cy="757130"/>
            <a:chOff x="404813" y="2613424"/>
            <a:chExt cx="2866205" cy="757130"/>
          </a:xfrm>
        </p:grpSpPr>
        <p:sp>
          <p:nvSpPr>
            <p:cNvPr id="25" name="TextBox 24">
              <a:extLst>
                <a:ext uri="{FF2B5EF4-FFF2-40B4-BE49-F238E27FC236}">
                  <a16:creationId xmlns:a16="http://schemas.microsoft.com/office/drawing/2014/main" id="{C6FE8313-929B-BA06-AA61-09E1F8CD4EBE}"/>
                </a:ext>
              </a:extLst>
            </p:cNvPr>
            <p:cNvSpPr txBox="1"/>
            <p:nvPr/>
          </p:nvSpPr>
          <p:spPr>
            <a:xfrm>
              <a:off x="513470" y="2613424"/>
              <a:ext cx="2757548" cy="757130"/>
            </a:xfrm>
            <a:prstGeom prst="rect">
              <a:avLst/>
            </a:prstGeom>
            <a:noFill/>
          </p:spPr>
          <p:txBody>
            <a:bodyPr wrap="square" rtlCol="0">
              <a:spAutoFit/>
            </a:bodyPr>
            <a:lstStyle/>
            <a:p>
              <a:pPr>
                <a:lnSpc>
                  <a:spcPct val="90000"/>
                </a:lnSpc>
              </a:pPr>
              <a:r>
                <a:rPr lang="en-US" sz="2400" b="1">
                  <a:ln w="12700">
                    <a:noFill/>
                  </a:ln>
                  <a:solidFill>
                    <a:schemeClr val="bg1"/>
                  </a:solidFill>
                </a:rPr>
                <a:t>GET THE FUTURE</a:t>
              </a:r>
            </a:p>
            <a:p>
              <a:pPr>
                <a:lnSpc>
                  <a:spcPct val="90000"/>
                </a:lnSpc>
              </a:pPr>
              <a:r>
                <a:rPr lang="en-US" sz="2400" b="1">
                  <a:ln w="12700">
                    <a:noFill/>
                  </a:ln>
                  <a:solidFill>
                    <a:schemeClr val="bg1"/>
                  </a:solidFill>
                </a:rPr>
                <a:t>YOU WANT</a:t>
              </a:r>
              <a:endParaRPr lang="en-US" sz="2400" b="1">
                <a:solidFill>
                  <a:schemeClr val="bg1"/>
                </a:solidFill>
              </a:endParaRPr>
            </a:p>
          </p:txBody>
        </p:sp>
        <p:sp>
          <p:nvSpPr>
            <p:cNvPr id="26" name="Rectangle 32">
              <a:extLst>
                <a:ext uri="{FF2B5EF4-FFF2-40B4-BE49-F238E27FC236}">
                  <a16:creationId xmlns:a16="http://schemas.microsoft.com/office/drawing/2014/main" id="{0B6A2703-3C60-FDC0-52DA-8CF7579D35D5}"/>
                </a:ext>
              </a:extLst>
            </p:cNvPr>
            <p:cNvSpPr>
              <a:spLocks noChangeArrowheads="1"/>
            </p:cNvSpPr>
            <p:nvPr userDrawn="1"/>
          </p:nvSpPr>
          <p:spPr bwMode="auto">
            <a:xfrm>
              <a:off x="404813" y="2718879"/>
              <a:ext cx="46583" cy="54863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Tree>
    <p:extLst>
      <p:ext uri="{BB962C8B-B14F-4D97-AF65-F5344CB8AC3E}">
        <p14:creationId xmlns:p14="http://schemas.microsoft.com/office/powerpoint/2010/main" val="33768177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Divider Page">
    <p:bg>
      <p:bgPr>
        <a:solidFill>
          <a:schemeClr val="accent4"/>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chemeClr val="bg1"/>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
        <p:nvSpPr>
          <p:cNvPr id="3" name="Graphic 13">
            <a:extLst>
              <a:ext uri="{FF2B5EF4-FFF2-40B4-BE49-F238E27FC236}">
                <a16:creationId xmlns:a16="http://schemas.microsoft.com/office/drawing/2014/main" id="{7C2369E4-F280-FAE1-0C4D-FC0D94C91E52}"/>
              </a:ext>
            </a:extLst>
          </p:cNvPr>
          <p:cNvSpPr>
            <a:spLocks noChangeAspect="1"/>
          </p:cNvSpPr>
          <p:nvPr userDrawn="1"/>
        </p:nvSpPr>
        <p:spPr>
          <a:xfrm rot="20991934">
            <a:off x="3490356" y="1109367"/>
            <a:ext cx="8831893" cy="5793514"/>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23000">
                <a:schemeClr val="accent2">
                  <a:alpha val="0"/>
                </a:schemeClr>
              </a:gs>
              <a:gs pos="39000">
                <a:srgbClr val="12ABDB"/>
              </a:gs>
              <a:gs pos="62000">
                <a:srgbClr val="12ABDB"/>
              </a:gs>
              <a:gs pos="73000">
                <a:schemeClr val="accent2"/>
              </a:gs>
            </a:gsLst>
            <a:lin ang="16200000" scaled="0"/>
          </a:gradFill>
          <a:ln w="9525" cap="flat">
            <a:noFill/>
            <a:prstDash val="solid"/>
            <a:miter/>
          </a:ln>
        </p:spPr>
        <p:txBody>
          <a:bodyPr rtlCol="0" anchor="ctr"/>
          <a:lstStyle/>
          <a:p>
            <a:endParaRPr lang="de-DE"/>
          </a:p>
        </p:txBody>
      </p:sp>
      <p:grpSp>
        <p:nvGrpSpPr>
          <p:cNvPr id="2" name="Groupe 1">
            <a:extLst>
              <a:ext uri="{FF2B5EF4-FFF2-40B4-BE49-F238E27FC236}">
                <a16:creationId xmlns:a16="http://schemas.microsoft.com/office/drawing/2014/main" id="{9BD6CAFC-234F-0129-C932-D89C0627F409}"/>
              </a:ext>
            </a:extLst>
          </p:cNvPr>
          <p:cNvGrpSpPr/>
          <p:nvPr userDrawn="1"/>
        </p:nvGrpSpPr>
        <p:grpSpPr>
          <a:xfrm>
            <a:off x="11501102" y="171573"/>
            <a:ext cx="419436" cy="388988"/>
            <a:chOff x="11501102" y="171573"/>
            <a:chExt cx="419436" cy="388988"/>
          </a:xfrm>
        </p:grpSpPr>
        <p:sp>
          <p:nvSpPr>
            <p:cNvPr id="4" name="Freeform 13">
              <a:extLst>
                <a:ext uri="{FF2B5EF4-FFF2-40B4-BE49-F238E27FC236}">
                  <a16:creationId xmlns:a16="http://schemas.microsoft.com/office/drawing/2014/main" id="{3D236230-E263-61F4-8C9C-DE39C1C2B55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a:extLst>
                <a:ext uri="{FF2B5EF4-FFF2-40B4-BE49-F238E27FC236}">
                  <a16:creationId xmlns:a16="http://schemas.microsoft.com/office/drawing/2014/main" id="{170C98C6-7F17-D12F-644D-12FBA93A3023}"/>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4930127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3_Divider Page">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chemeClr val="bg1"/>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
        <p:nvSpPr>
          <p:cNvPr id="3" name="Graphic 13">
            <a:extLst>
              <a:ext uri="{FF2B5EF4-FFF2-40B4-BE49-F238E27FC236}">
                <a16:creationId xmlns:a16="http://schemas.microsoft.com/office/drawing/2014/main" id="{7C2369E4-F280-FAE1-0C4D-FC0D94C91E52}"/>
              </a:ext>
            </a:extLst>
          </p:cNvPr>
          <p:cNvSpPr>
            <a:spLocks noChangeAspect="1"/>
          </p:cNvSpPr>
          <p:nvPr userDrawn="1"/>
        </p:nvSpPr>
        <p:spPr>
          <a:xfrm rot="20991934">
            <a:off x="3490356" y="1109367"/>
            <a:ext cx="8831893" cy="5793514"/>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23000">
                <a:schemeClr val="accent2">
                  <a:alpha val="0"/>
                </a:schemeClr>
              </a:gs>
              <a:gs pos="39000">
                <a:srgbClr val="12ABDB"/>
              </a:gs>
              <a:gs pos="62000">
                <a:srgbClr val="12ABDB"/>
              </a:gs>
              <a:gs pos="73000">
                <a:schemeClr val="accent2"/>
              </a:gs>
            </a:gsLst>
            <a:lin ang="16200000" scaled="0"/>
          </a:gradFill>
          <a:ln w="9525" cap="flat">
            <a:noFill/>
            <a:prstDash val="solid"/>
            <a:miter/>
          </a:ln>
        </p:spPr>
        <p:txBody>
          <a:bodyPr rtlCol="0" anchor="ctr"/>
          <a:lstStyle/>
          <a:p>
            <a:endParaRPr lang="de-DE"/>
          </a:p>
        </p:txBody>
      </p:sp>
      <p:grpSp>
        <p:nvGrpSpPr>
          <p:cNvPr id="2" name="Group 37">
            <a:extLst>
              <a:ext uri="{FF2B5EF4-FFF2-40B4-BE49-F238E27FC236}">
                <a16:creationId xmlns:a16="http://schemas.microsoft.com/office/drawing/2014/main" id="{6D78CE4C-D1CA-30F8-5464-2F191229F1EC}"/>
              </a:ext>
            </a:extLst>
          </p:cNvPr>
          <p:cNvGrpSpPr/>
          <p:nvPr userDrawn="1"/>
        </p:nvGrpSpPr>
        <p:grpSpPr>
          <a:xfrm>
            <a:off x="11562864" y="207688"/>
            <a:ext cx="418487" cy="387209"/>
            <a:chOff x="5481638" y="2859088"/>
            <a:chExt cx="1231900" cy="1139825"/>
          </a:xfrm>
          <a:solidFill>
            <a:schemeClr val="bg1"/>
          </a:solidFill>
        </p:grpSpPr>
        <p:sp>
          <p:nvSpPr>
            <p:cNvPr id="4" name="Freeform 320">
              <a:extLst>
                <a:ext uri="{FF2B5EF4-FFF2-40B4-BE49-F238E27FC236}">
                  <a16:creationId xmlns:a16="http://schemas.microsoft.com/office/drawing/2014/main" id="{C90875B9-BAAC-5FF7-5030-AAFB864C473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321">
              <a:extLst>
                <a:ext uri="{FF2B5EF4-FFF2-40B4-BE49-F238E27FC236}">
                  <a16:creationId xmlns:a16="http://schemas.microsoft.com/office/drawing/2014/main" id="{C70CFB2A-C558-63F4-2FB9-99F853C4D6E0}"/>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263956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2_Divider Page">
    <p:bg>
      <p:bgPr>
        <a:solidFill>
          <a:schemeClr val="bg1"/>
        </a:solidFill>
        <a:effectLst/>
      </p:bgPr>
    </p:bg>
    <p:spTree>
      <p:nvGrpSpPr>
        <p:cNvPr id="1" name=""/>
        <p:cNvGrpSpPr/>
        <p:nvPr/>
      </p:nvGrpSpPr>
      <p:grpSpPr>
        <a:xfrm>
          <a:off x="0" y="0"/>
          <a:ext cx="0" cy="0"/>
          <a:chOff x="0" y="0"/>
          <a:chExt cx="0" cy="0"/>
        </a:xfrm>
      </p:grpSpPr>
      <p:sp>
        <p:nvSpPr>
          <p:cNvPr id="3" name="Graphic 13">
            <a:extLst>
              <a:ext uri="{FF2B5EF4-FFF2-40B4-BE49-F238E27FC236}">
                <a16:creationId xmlns:a16="http://schemas.microsoft.com/office/drawing/2014/main" id="{957DAA1C-88AB-19E9-9B93-4BDA9E0C5298}"/>
              </a:ext>
            </a:extLst>
          </p:cNvPr>
          <p:cNvSpPr>
            <a:spLocks noChangeAspect="1"/>
          </p:cNvSpPr>
          <p:nvPr userDrawn="1"/>
        </p:nvSpPr>
        <p:spPr>
          <a:xfrm rot="20991934">
            <a:off x="3490356" y="1109367"/>
            <a:ext cx="8831893" cy="5793514"/>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23000">
                <a:schemeClr val="accent2">
                  <a:alpha val="0"/>
                </a:schemeClr>
              </a:gs>
              <a:gs pos="39000">
                <a:srgbClr val="12ABDB"/>
              </a:gs>
              <a:gs pos="62000">
                <a:srgbClr val="12ABDB"/>
              </a:gs>
              <a:gs pos="73000">
                <a:schemeClr val="accent2"/>
              </a:gs>
            </a:gsLst>
            <a:lin ang="16200000" scaled="0"/>
          </a:gradFill>
          <a:ln w="9525" cap="flat">
            <a:noFill/>
            <a:prstDash val="solid"/>
            <a:miter/>
          </a:ln>
        </p:spPr>
        <p:txBody>
          <a:bodyPr rtlCol="0" anchor="ctr"/>
          <a:lstStyle/>
          <a:p>
            <a:endParaRPr lang="de-DE"/>
          </a:p>
        </p:txBody>
      </p:sp>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ysClr val="windowText" lastClr="000000"/>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grpSp>
        <p:nvGrpSpPr>
          <p:cNvPr id="2" name="Groupe 1">
            <a:extLst>
              <a:ext uri="{FF2B5EF4-FFF2-40B4-BE49-F238E27FC236}">
                <a16:creationId xmlns:a16="http://schemas.microsoft.com/office/drawing/2014/main" id="{FCF8BB11-75B8-2786-E74B-D410FE2DBC76}"/>
              </a:ext>
            </a:extLst>
          </p:cNvPr>
          <p:cNvGrpSpPr/>
          <p:nvPr userDrawn="1"/>
        </p:nvGrpSpPr>
        <p:grpSpPr>
          <a:xfrm>
            <a:off x="11501102" y="171573"/>
            <a:ext cx="419436" cy="388988"/>
            <a:chOff x="11501102" y="171573"/>
            <a:chExt cx="419436" cy="388988"/>
          </a:xfrm>
        </p:grpSpPr>
        <p:sp>
          <p:nvSpPr>
            <p:cNvPr id="4" name="Freeform 13">
              <a:extLst>
                <a:ext uri="{FF2B5EF4-FFF2-40B4-BE49-F238E27FC236}">
                  <a16:creationId xmlns:a16="http://schemas.microsoft.com/office/drawing/2014/main" id="{0FEE2CC5-07A7-819E-0CF9-436B56BCE2C4}"/>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a:extLst>
                <a:ext uri="{FF2B5EF4-FFF2-40B4-BE49-F238E27FC236}">
                  <a16:creationId xmlns:a16="http://schemas.microsoft.com/office/drawing/2014/main" id="{DC416613-4CCB-85C9-FD8B-371B4BAF0881}"/>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67210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Content Agenda_alt 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73F628F-0ABD-8B95-A88E-F24A135B02BC}"/>
              </a:ext>
            </a:extLst>
          </p:cNvPr>
          <p:cNvSpPr/>
          <p:nvPr userDrawn="1"/>
        </p:nvSpPr>
        <p:spPr>
          <a:xfrm>
            <a:off x="5682019" y="0"/>
            <a:ext cx="650998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a:xfrm>
            <a:off x="596969" y="1028131"/>
            <a:ext cx="4999700" cy="893211"/>
          </a:xfrm>
        </p:spPr>
        <p:txBody>
          <a:bodyPr anchor="t"/>
          <a:lstStyle>
            <a:lvl1pPr>
              <a:defRPr sz="3200">
                <a:solidFill>
                  <a:schemeClr val="tx2"/>
                </a:solidFill>
                <a:latin typeface="Ubuntu Medium" panose="020B0604030602030204" pitchFamily="34" charset="0"/>
              </a:defRPr>
            </a:lvl1pPr>
          </a:lstStyle>
          <a:p>
            <a:r>
              <a:rPr lang="en-US"/>
              <a:t>Click to edit Master title style</a:t>
            </a:r>
            <a:endParaRPr lang="de-DE"/>
          </a:p>
        </p:txBody>
      </p:sp>
      <p:sp>
        <p:nvSpPr>
          <p:cNvPr id="10" name="Text Placeholder 9">
            <a:extLst>
              <a:ext uri="{FF2B5EF4-FFF2-40B4-BE49-F238E27FC236}">
                <a16:creationId xmlns:a16="http://schemas.microsoft.com/office/drawing/2014/main" id="{73552CDD-69A5-4077-898E-6C7EE261EA3B}"/>
              </a:ext>
            </a:extLst>
          </p:cNvPr>
          <p:cNvSpPr>
            <a:spLocks noGrp="1"/>
          </p:cNvSpPr>
          <p:nvPr>
            <p:ph type="body" sz="quarter" idx="11" hasCustomPrompt="1"/>
          </p:nvPr>
        </p:nvSpPr>
        <p:spPr>
          <a:xfrm flipH="1">
            <a:off x="596965" y="687655"/>
            <a:ext cx="4999701" cy="335712"/>
          </a:xfrm>
        </p:spPr>
        <p:txBody>
          <a:bodyPr>
            <a:normAutofit/>
          </a:bodyPr>
          <a:lstStyle>
            <a:lvl1pPr>
              <a:defRPr sz="1000" b="0">
                <a:solidFill>
                  <a:schemeClr val="accent1"/>
                </a:solidFill>
              </a:defRPr>
            </a:lvl1pPr>
            <a:lvl2pPr marL="0" indent="0">
              <a:buNone/>
              <a:defRPr/>
            </a:lvl2pPr>
          </a:lstStyle>
          <a:p>
            <a:pPr lvl="0"/>
            <a:r>
              <a:rPr lang="en-US"/>
              <a:t>CLICK TO EDIT MASTER TEXT STYLES</a:t>
            </a:r>
          </a:p>
        </p:txBody>
      </p:sp>
      <p:grpSp>
        <p:nvGrpSpPr>
          <p:cNvPr id="9" name="Groupe 1">
            <a:extLst>
              <a:ext uri="{FF2B5EF4-FFF2-40B4-BE49-F238E27FC236}">
                <a16:creationId xmlns:a16="http://schemas.microsoft.com/office/drawing/2014/main" id="{6D0FAB30-A02D-4930-6395-CEAB8206D525}"/>
              </a:ext>
            </a:extLst>
          </p:cNvPr>
          <p:cNvGrpSpPr>
            <a:grpSpLocks noChangeAspect="1"/>
          </p:cNvGrpSpPr>
          <p:nvPr userDrawn="1"/>
        </p:nvGrpSpPr>
        <p:grpSpPr>
          <a:xfrm>
            <a:off x="11562845" y="194444"/>
            <a:ext cx="419436" cy="388988"/>
            <a:chOff x="11501102" y="171573"/>
            <a:chExt cx="419436" cy="388988"/>
          </a:xfrm>
        </p:grpSpPr>
        <p:sp>
          <p:nvSpPr>
            <p:cNvPr id="11" name="Freeform 13">
              <a:extLst>
                <a:ext uri="{FF2B5EF4-FFF2-40B4-BE49-F238E27FC236}">
                  <a16:creationId xmlns:a16="http://schemas.microsoft.com/office/drawing/2014/main" id="{EF9EDDB4-9919-3773-70D1-BB1C58475ABF}"/>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14">
              <a:extLst>
                <a:ext uri="{FF2B5EF4-FFF2-40B4-BE49-F238E27FC236}">
                  <a16:creationId xmlns:a16="http://schemas.microsoft.com/office/drawing/2014/main" id="{D08E1DC4-407E-2056-AF3C-2C0F012612C5}"/>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3" name="Text Placeholder 9">
            <a:extLst>
              <a:ext uri="{FF2B5EF4-FFF2-40B4-BE49-F238E27FC236}">
                <a16:creationId xmlns:a16="http://schemas.microsoft.com/office/drawing/2014/main" id="{91C7F115-29D9-3A76-CDC5-21A6A1DF1CD0}"/>
              </a:ext>
            </a:extLst>
          </p:cNvPr>
          <p:cNvSpPr>
            <a:spLocks noGrp="1"/>
          </p:cNvSpPr>
          <p:nvPr>
            <p:ph type="body" sz="quarter" idx="12" hasCustomPrompt="1"/>
          </p:nvPr>
        </p:nvSpPr>
        <p:spPr>
          <a:xfrm flipH="1">
            <a:off x="596966" y="4936658"/>
            <a:ext cx="5008802" cy="335712"/>
          </a:xfrm>
        </p:spPr>
        <p:txBody>
          <a:bodyPr>
            <a:normAutofit/>
          </a:bodyPr>
          <a:lstStyle>
            <a:lvl1pPr>
              <a:defRPr sz="1600" b="0">
                <a:solidFill>
                  <a:schemeClr val="accent1"/>
                </a:solidFill>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2443226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_Content Agenda_alt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CEAF7FD-3C29-1FEC-6144-477676405FFB}"/>
              </a:ext>
            </a:extLst>
          </p:cNvPr>
          <p:cNvSpPr/>
          <p:nvPr userDrawn="1"/>
        </p:nvSpPr>
        <p:spPr>
          <a:xfrm>
            <a:off x="3796748" y="0"/>
            <a:ext cx="8395252" cy="6858000"/>
          </a:xfrm>
          <a:prstGeom prst="rect">
            <a:avLst/>
          </a:prstGeom>
          <a:solidFill>
            <a:schemeClr val="accent4"/>
          </a:solidFill>
          <a:ln>
            <a:noFill/>
          </a:ln>
          <a:effectLst>
            <a:outerShdw blurRad="292100" dist="50800" dir="10800000" algn="ctr" rotWithShape="0">
              <a:srgbClr val="000000">
                <a:alpha val="14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err="1">
              <a:solidFill>
                <a:schemeClr val="tx1"/>
              </a:solidFill>
            </a:endParaRPr>
          </a:p>
        </p:txBody>
      </p:sp>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a:xfrm>
            <a:off x="404813" y="1878496"/>
            <a:ext cx="3024187" cy="785191"/>
          </a:xfrm>
        </p:spPr>
        <p:txBody>
          <a:bodyPr anchor="b"/>
          <a:lstStyle>
            <a:lvl1pPr>
              <a:defRPr sz="2800">
                <a:solidFill>
                  <a:schemeClr val="tx2"/>
                </a:solidFill>
              </a:defRPr>
            </a:lvl1pPr>
          </a:lstStyle>
          <a:p>
            <a:r>
              <a:rPr lang="en-US"/>
              <a:t>Click to edit Master title style</a:t>
            </a:r>
            <a:endParaRPr lang="de-DE"/>
          </a:p>
        </p:txBody>
      </p:sp>
      <p:grpSp>
        <p:nvGrpSpPr>
          <p:cNvPr id="4" name="Groupe 1">
            <a:extLst>
              <a:ext uri="{FF2B5EF4-FFF2-40B4-BE49-F238E27FC236}">
                <a16:creationId xmlns:a16="http://schemas.microsoft.com/office/drawing/2014/main" id="{C35A8852-48D8-D471-7177-3908399B5FB7}"/>
              </a:ext>
            </a:extLst>
          </p:cNvPr>
          <p:cNvGrpSpPr>
            <a:grpSpLocks noChangeAspect="1"/>
          </p:cNvGrpSpPr>
          <p:nvPr userDrawn="1"/>
        </p:nvGrpSpPr>
        <p:grpSpPr>
          <a:xfrm>
            <a:off x="11562845" y="194444"/>
            <a:ext cx="419436" cy="388988"/>
            <a:chOff x="11501102" y="171573"/>
            <a:chExt cx="419436" cy="388988"/>
          </a:xfrm>
        </p:grpSpPr>
        <p:sp>
          <p:nvSpPr>
            <p:cNvPr id="14" name="Freeform 13">
              <a:extLst>
                <a:ext uri="{FF2B5EF4-FFF2-40B4-BE49-F238E27FC236}">
                  <a16:creationId xmlns:a16="http://schemas.microsoft.com/office/drawing/2014/main" id="{2A3E9497-94E2-097B-1E2C-2B8322D8ED15}"/>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4">
              <a:extLst>
                <a:ext uri="{FF2B5EF4-FFF2-40B4-BE49-F238E27FC236}">
                  <a16:creationId xmlns:a16="http://schemas.microsoft.com/office/drawing/2014/main" id="{42AD92C8-31ED-CBCA-8A0D-4FE821CF2B1C}"/>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86634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hasCustomPrompt="1"/>
          </p:nvPr>
        </p:nvSpPr>
        <p:spPr>
          <a:xfrm>
            <a:off x="414972" y="320993"/>
            <a:ext cx="9420516" cy="731520"/>
          </a:xfrm>
        </p:spPr>
        <p:txBody>
          <a:bodyPr/>
          <a:lstStyle/>
          <a:p>
            <a:r>
              <a:rPr lang="en-US" noProof="0"/>
              <a:t>Insert page title (sentence case) </a:t>
            </a:r>
            <a:endParaRPr lang="en-US"/>
          </a:p>
        </p:txBody>
      </p:sp>
    </p:spTree>
    <p:extLst>
      <p:ext uri="{BB962C8B-B14F-4D97-AF65-F5344CB8AC3E}">
        <p14:creationId xmlns:p14="http://schemas.microsoft.com/office/powerpoint/2010/main" val="18743941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_Only Title Layout_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12BB5C4-1E74-1E5B-46D2-6C97BC908BAF}"/>
              </a:ext>
            </a:extLst>
          </p:cNvPr>
          <p:cNvSpPr/>
          <p:nvPr userDrawn="1"/>
        </p:nvSpPr>
        <p:spPr>
          <a:xfrm>
            <a:off x="0" y="0"/>
            <a:ext cx="6096000" cy="6858000"/>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 name="Title 1">
            <a:extLst>
              <a:ext uri="{FF2B5EF4-FFF2-40B4-BE49-F238E27FC236}">
                <a16:creationId xmlns:a16="http://schemas.microsoft.com/office/drawing/2014/main" id="{DEA8CE45-A6FC-9CE9-F8CD-BA044CFE9412}"/>
              </a:ext>
            </a:extLst>
          </p:cNvPr>
          <p:cNvSpPr>
            <a:spLocks noGrp="1"/>
          </p:cNvSpPr>
          <p:nvPr>
            <p:ph type="title" hasCustomPrompt="1"/>
          </p:nvPr>
        </p:nvSpPr>
        <p:spPr/>
        <p:txBody>
          <a:bodyPr/>
          <a:lstStyle/>
          <a:p>
            <a:r>
              <a:rPr lang="en-US" noProof="0"/>
              <a:t>Insert page title (sentence case) </a:t>
            </a:r>
            <a:endParaRPr lang="en-US"/>
          </a:p>
        </p:txBody>
      </p:sp>
    </p:spTree>
    <p:extLst>
      <p:ext uri="{BB962C8B-B14F-4D97-AF65-F5344CB8AC3E}">
        <p14:creationId xmlns:p14="http://schemas.microsoft.com/office/powerpoint/2010/main" val="27216474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0_Only Title Layout_1/4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12BB5C4-1E74-1E5B-46D2-6C97BC908BAF}"/>
              </a:ext>
            </a:extLst>
          </p:cNvPr>
          <p:cNvSpPr/>
          <p:nvPr userDrawn="1"/>
        </p:nvSpPr>
        <p:spPr>
          <a:xfrm>
            <a:off x="-1" y="0"/>
            <a:ext cx="3574473" cy="6858000"/>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 name="Title 1">
            <a:extLst>
              <a:ext uri="{FF2B5EF4-FFF2-40B4-BE49-F238E27FC236}">
                <a16:creationId xmlns:a16="http://schemas.microsoft.com/office/drawing/2014/main" id="{DEA8CE45-A6FC-9CE9-F8CD-BA044CFE9412}"/>
              </a:ext>
            </a:extLst>
          </p:cNvPr>
          <p:cNvSpPr>
            <a:spLocks noGrp="1"/>
          </p:cNvSpPr>
          <p:nvPr>
            <p:ph type="title" hasCustomPrompt="1"/>
          </p:nvPr>
        </p:nvSpPr>
        <p:spPr>
          <a:xfrm>
            <a:off x="414972" y="320993"/>
            <a:ext cx="3074988" cy="731520"/>
          </a:xfrm>
        </p:spPr>
        <p:txBody>
          <a:bodyPr/>
          <a:lstStyle/>
          <a:p>
            <a:r>
              <a:rPr lang="en-US" noProof="0"/>
              <a:t>Insert page title (sentence case) </a:t>
            </a:r>
            <a:endParaRPr lang="en-US"/>
          </a:p>
        </p:txBody>
      </p:sp>
    </p:spTree>
    <p:extLst>
      <p:ext uri="{BB962C8B-B14F-4D97-AF65-F5344CB8AC3E}">
        <p14:creationId xmlns:p14="http://schemas.microsoft.com/office/powerpoint/2010/main" val="3060067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0_Only Title Layout_1/4 reverse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12BB5C4-1E74-1E5B-46D2-6C97BC908BAF}"/>
              </a:ext>
            </a:extLst>
          </p:cNvPr>
          <p:cNvSpPr/>
          <p:nvPr userDrawn="1"/>
        </p:nvSpPr>
        <p:spPr>
          <a:xfrm>
            <a:off x="8617527" y="0"/>
            <a:ext cx="3574473" cy="6858000"/>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 name="Title 1">
            <a:extLst>
              <a:ext uri="{FF2B5EF4-FFF2-40B4-BE49-F238E27FC236}">
                <a16:creationId xmlns:a16="http://schemas.microsoft.com/office/drawing/2014/main" id="{DEA8CE45-A6FC-9CE9-F8CD-BA044CFE9412}"/>
              </a:ext>
            </a:extLst>
          </p:cNvPr>
          <p:cNvSpPr>
            <a:spLocks noGrp="1"/>
          </p:cNvSpPr>
          <p:nvPr>
            <p:ph type="title" hasCustomPrompt="1"/>
          </p:nvPr>
        </p:nvSpPr>
        <p:spPr>
          <a:xfrm>
            <a:off x="414972" y="320993"/>
            <a:ext cx="8128664" cy="731520"/>
          </a:xfrm>
        </p:spPr>
        <p:txBody>
          <a:bodyPr/>
          <a:lstStyle/>
          <a:p>
            <a:r>
              <a:rPr lang="en-US" noProof="0"/>
              <a:t>Insert page title (sentence case) </a:t>
            </a:r>
            <a:endParaRPr lang="en-US"/>
          </a:p>
        </p:txBody>
      </p:sp>
      <p:grpSp>
        <p:nvGrpSpPr>
          <p:cNvPr id="4" name="Groupe 1">
            <a:extLst>
              <a:ext uri="{FF2B5EF4-FFF2-40B4-BE49-F238E27FC236}">
                <a16:creationId xmlns:a16="http://schemas.microsoft.com/office/drawing/2014/main" id="{C4B026B3-63F9-2DCA-33CF-E8AE2CB86A8A}"/>
              </a:ext>
            </a:extLst>
          </p:cNvPr>
          <p:cNvGrpSpPr/>
          <p:nvPr userDrawn="1"/>
        </p:nvGrpSpPr>
        <p:grpSpPr>
          <a:xfrm>
            <a:off x="11501102" y="171573"/>
            <a:ext cx="419436" cy="387118"/>
            <a:chOff x="11501102" y="171573"/>
            <a:chExt cx="419436" cy="387118"/>
          </a:xfrm>
        </p:grpSpPr>
        <p:sp>
          <p:nvSpPr>
            <p:cNvPr id="5" name="Freeform 13">
              <a:extLst>
                <a:ext uri="{FF2B5EF4-FFF2-40B4-BE49-F238E27FC236}">
                  <a16:creationId xmlns:a16="http://schemas.microsoft.com/office/drawing/2014/main" id="{6CAEA05D-B27A-1633-F88C-687057F1CC70}"/>
                </a:ext>
              </a:extLst>
            </p:cNvPr>
            <p:cNvSpPr>
              <a:spLocks/>
            </p:cNvSpPr>
            <p:nvPr/>
          </p:nvSpPr>
          <p:spPr bwMode="auto">
            <a:xfrm>
              <a:off x="11644642" y="33250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 name="Freeform 14">
              <a:extLst>
                <a:ext uri="{FF2B5EF4-FFF2-40B4-BE49-F238E27FC236}">
                  <a16:creationId xmlns:a16="http://schemas.microsoft.com/office/drawing/2014/main" id="{90044709-95D9-3A12-6F5F-BA5C770E1831}"/>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ctangle 27">
            <a:extLst>
              <a:ext uri="{FF2B5EF4-FFF2-40B4-BE49-F238E27FC236}">
                <a16:creationId xmlns:a16="http://schemas.microsoft.com/office/drawing/2014/main" id="{3D6DD278-CF02-097C-9BE4-99079D648508}"/>
              </a:ext>
            </a:extLst>
          </p:cNvPr>
          <p:cNvSpPr/>
          <p:nvPr userDrawn="1"/>
        </p:nvSpPr>
        <p:spPr>
          <a:xfrm>
            <a:off x="3131797" y="6517871"/>
            <a:ext cx="5058466" cy="215231"/>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A6A6A6"/>
                </a:solidFill>
                <a:latin typeface="Ubuntu" panose="020B0504030602030204" pitchFamily="34" charset="0"/>
                <a:cs typeface="Arial" panose="020B0604020202020204" pitchFamily="34" charset="0"/>
              </a:rPr>
              <a:t>The information contained in this document is proprietary. Copyright © 2024 Capgemini. All rights reserved. </a:t>
            </a:r>
            <a:r>
              <a:rPr lang="en-GB" sz="700">
                <a:solidFill>
                  <a:srgbClr val="A6A6A6"/>
                </a:solidFill>
                <a:latin typeface="Ubuntu" panose="020B0504030602030204" pitchFamily="34" charset="0"/>
                <a:cs typeface="Arial" panose="020B0604020202020204" pitchFamily="34" charset="0"/>
              </a:rPr>
              <a:t>|</a:t>
            </a:r>
          </a:p>
        </p:txBody>
      </p:sp>
      <p:sp>
        <p:nvSpPr>
          <p:cNvPr id="8" name="Rectangle 43">
            <a:extLst>
              <a:ext uri="{FF2B5EF4-FFF2-40B4-BE49-F238E27FC236}">
                <a16:creationId xmlns:a16="http://schemas.microsoft.com/office/drawing/2014/main" id="{7FD43C6B-C660-9C0A-305C-394FE80C8C1E}"/>
              </a:ext>
            </a:extLst>
          </p:cNvPr>
          <p:cNvSpPr/>
          <p:nvPr userDrawn="1"/>
        </p:nvSpPr>
        <p:spPr>
          <a:xfrm>
            <a:off x="8175159"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24771378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0_Only Title Layout_split revers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12BB5C4-1E74-1E5B-46D2-6C97BC908BAF}"/>
              </a:ext>
            </a:extLst>
          </p:cNvPr>
          <p:cNvSpPr/>
          <p:nvPr userDrawn="1"/>
        </p:nvSpPr>
        <p:spPr>
          <a:xfrm flipH="1">
            <a:off x="6096000" y="0"/>
            <a:ext cx="6096000" cy="6858000"/>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 name="Title 1">
            <a:extLst>
              <a:ext uri="{FF2B5EF4-FFF2-40B4-BE49-F238E27FC236}">
                <a16:creationId xmlns:a16="http://schemas.microsoft.com/office/drawing/2014/main" id="{DEA8CE45-A6FC-9CE9-F8CD-BA044CFE9412}"/>
              </a:ext>
            </a:extLst>
          </p:cNvPr>
          <p:cNvSpPr>
            <a:spLocks noGrp="1"/>
          </p:cNvSpPr>
          <p:nvPr>
            <p:ph type="title" hasCustomPrompt="1"/>
          </p:nvPr>
        </p:nvSpPr>
        <p:spPr/>
        <p:txBody>
          <a:bodyPr/>
          <a:lstStyle/>
          <a:p>
            <a:r>
              <a:rPr lang="en-US" noProof="0"/>
              <a:t>Insert page title (sentence case) </a:t>
            </a:r>
            <a:endParaRPr lang="en-US"/>
          </a:p>
        </p:txBody>
      </p:sp>
      <p:grpSp>
        <p:nvGrpSpPr>
          <p:cNvPr id="4" name="Groupe 1">
            <a:extLst>
              <a:ext uri="{FF2B5EF4-FFF2-40B4-BE49-F238E27FC236}">
                <a16:creationId xmlns:a16="http://schemas.microsoft.com/office/drawing/2014/main" id="{0769DB1B-5154-C04D-C1C9-E85724D11A03}"/>
              </a:ext>
            </a:extLst>
          </p:cNvPr>
          <p:cNvGrpSpPr/>
          <p:nvPr userDrawn="1"/>
        </p:nvGrpSpPr>
        <p:grpSpPr>
          <a:xfrm>
            <a:off x="11501102" y="171573"/>
            <a:ext cx="419436" cy="387118"/>
            <a:chOff x="11501102" y="171573"/>
            <a:chExt cx="419436" cy="387118"/>
          </a:xfrm>
        </p:grpSpPr>
        <p:sp>
          <p:nvSpPr>
            <p:cNvPr id="5" name="Freeform 13">
              <a:extLst>
                <a:ext uri="{FF2B5EF4-FFF2-40B4-BE49-F238E27FC236}">
                  <a16:creationId xmlns:a16="http://schemas.microsoft.com/office/drawing/2014/main" id="{C199599B-A690-A457-307E-313267703AF6}"/>
                </a:ext>
              </a:extLst>
            </p:cNvPr>
            <p:cNvSpPr>
              <a:spLocks/>
            </p:cNvSpPr>
            <p:nvPr/>
          </p:nvSpPr>
          <p:spPr bwMode="auto">
            <a:xfrm>
              <a:off x="11644642" y="33250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 name="Freeform 14">
              <a:extLst>
                <a:ext uri="{FF2B5EF4-FFF2-40B4-BE49-F238E27FC236}">
                  <a16:creationId xmlns:a16="http://schemas.microsoft.com/office/drawing/2014/main" id="{0FC3FD65-E9A0-7EB9-D954-59C41D68569C}"/>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ctangle 27">
            <a:extLst>
              <a:ext uri="{FF2B5EF4-FFF2-40B4-BE49-F238E27FC236}">
                <a16:creationId xmlns:a16="http://schemas.microsoft.com/office/drawing/2014/main" id="{AA7F14D2-6E10-9159-073B-7474DFBFCC9E}"/>
              </a:ext>
            </a:extLst>
          </p:cNvPr>
          <p:cNvSpPr/>
          <p:nvPr userDrawn="1"/>
        </p:nvSpPr>
        <p:spPr>
          <a:xfrm>
            <a:off x="6605516" y="6517871"/>
            <a:ext cx="5058466" cy="215231"/>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A6A6A6"/>
                </a:solidFill>
                <a:latin typeface="Ubuntu" panose="020B0504030602030204" pitchFamily="34" charset="0"/>
                <a:cs typeface="Arial" panose="020B0604020202020204" pitchFamily="34" charset="0"/>
              </a:rPr>
              <a:t>The information contained in this document is proprietary. Copyright © 2024 Capgemini. All rights reserved. </a:t>
            </a:r>
            <a:r>
              <a:rPr lang="en-GB" sz="700">
                <a:solidFill>
                  <a:srgbClr val="A6A6A6"/>
                </a:solidFill>
                <a:latin typeface="Ubuntu" panose="020B0504030602030204" pitchFamily="34" charset="0"/>
                <a:cs typeface="Arial" panose="020B0604020202020204" pitchFamily="34" charset="0"/>
              </a:rPr>
              <a:t>|</a:t>
            </a:r>
          </a:p>
        </p:txBody>
      </p:sp>
      <p:sp>
        <p:nvSpPr>
          <p:cNvPr id="8" name="Rectangle 43">
            <a:extLst>
              <a:ext uri="{FF2B5EF4-FFF2-40B4-BE49-F238E27FC236}">
                <a16:creationId xmlns:a16="http://schemas.microsoft.com/office/drawing/2014/main" id="{6B7100B7-A615-5525-96B1-DF10705CE590}"/>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40641869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2" name="Subtitle">
            <a:extLst>
              <a:ext uri="{FF2B5EF4-FFF2-40B4-BE49-F238E27FC236}">
                <a16:creationId xmlns:a16="http://schemas.microsoft.com/office/drawing/2014/main" id="{263427DF-DAE9-5C4C-6A1A-438ED4F52194}"/>
              </a:ext>
            </a:extLst>
          </p:cNvPr>
          <p:cNvSpPr>
            <a:spLocks noGrp="1"/>
          </p:cNvSpPr>
          <p:nvPr>
            <p:ph type="subTitle" idx="1" hasCustomPrompt="1"/>
          </p:nvPr>
        </p:nvSpPr>
        <p:spPr>
          <a:xfrm>
            <a:off x="407368" y="5457155"/>
            <a:ext cx="11090276"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insert subtitle (sentence case) </a:t>
            </a:r>
          </a:p>
        </p:txBody>
      </p:sp>
      <p:sp>
        <p:nvSpPr>
          <p:cNvPr id="3" name="Title">
            <a:extLst>
              <a:ext uri="{FF2B5EF4-FFF2-40B4-BE49-F238E27FC236}">
                <a16:creationId xmlns:a16="http://schemas.microsoft.com/office/drawing/2014/main" id="{4AAC7C66-F303-132A-295B-65A79300A34B}"/>
              </a:ext>
            </a:extLst>
          </p:cNvPr>
          <p:cNvSpPr>
            <a:spLocks noGrp="1"/>
          </p:cNvSpPr>
          <p:nvPr>
            <p:ph type="ctrTitle" hasCustomPrompt="1"/>
          </p:nvPr>
        </p:nvSpPr>
        <p:spPr>
          <a:xfrm>
            <a:off x="40736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noProof="0"/>
              <a:t>Click to insert cover title (sentence case) </a:t>
            </a:r>
          </a:p>
        </p:txBody>
      </p:sp>
      <p:grpSp>
        <p:nvGrpSpPr>
          <p:cNvPr id="11" name="Group 2">
            <a:extLst>
              <a:ext uri="{FF2B5EF4-FFF2-40B4-BE49-F238E27FC236}">
                <a16:creationId xmlns:a16="http://schemas.microsoft.com/office/drawing/2014/main" id="{6CECF1A1-AFBB-C9C3-8C4C-A333753514C3}"/>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6500998E-0CA2-4FA3-BF63-EC673ABF21BF}"/>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F3E23DF4-7EAD-57AB-752A-EC8452CB6C51}"/>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879BEAB9-ED4E-001A-5054-C9630CF436F9}"/>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DC469B38-0BDD-091F-8A89-643F5C025E37}"/>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F04538F8-26C6-0B5E-9B13-7C72AEACEC0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2642068577"/>
      </p:ext>
    </p:extLst>
  </p:cSld>
  <p:clrMapOvr>
    <a:masterClrMapping/>
  </p:clrMapOvr>
  <p:extLst>
    <p:ext uri="{DCECCB84-F9BA-43D5-87BE-67443E8EF086}">
      <p15:sldGuideLst xmlns:p15="http://schemas.microsoft.com/office/powerpoint/2012/main">
        <p15:guide id="2" pos="7423">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0_Only Title and Layout_with Eyebrow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3D6CCA-5023-D91C-5084-3ED466DC8001}"/>
              </a:ext>
            </a:extLst>
          </p:cNvPr>
          <p:cNvSpPr>
            <a:spLocks noGrp="1"/>
          </p:cNvSpPr>
          <p:nvPr>
            <p:ph type="title" hasCustomPrompt="1"/>
          </p:nvPr>
        </p:nvSpPr>
        <p:spPr/>
        <p:txBody>
          <a:bodyPr/>
          <a:lstStyle/>
          <a:p>
            <a:r>
              <a:rPr lang="en-US" noProof="0"/>
              <a:t>Insert page title (sentence case) </a:t>
            </a:r>
            <a:endParaRPr lang="en-US"/>
          </a:p>
        </p:txBody>
      </p:sp>
      <p:sp>
        <p:nvSpPr>
          <p:cNvPr id="3" name="Text Placeholder 9">
            <a:extLst>
              <a:ext uri="{FF2B5EF4-FFF2-40B4-BE49-F238E27FC236}">
                <a16:creationId xmlns:a16="http://schemas.microsoft.com/office/drawing/2014/main" id="{47CD8ECA-76B3-0FAC-74E0-56BCCCE83D4F}"/>
              </a:ext>
            </a:extLst>
          </p:cNvPr>
          <p:cNvSpPr>
            <a:spLocks noGrp="1"/>
          </p:cNvSpPr>
          <p:nvPr>
            <p:ph type="body" sz="quarter" idx="16" hasCustomPrompt="1"/>
          </p:nvPr>
        </p:nvSpPr>
        <p:spPr>
          <a:xfrm>
            <a:off x="414971" y="164754"/>
            <a:ext cx="5681029" cy="153888"/>
          </a:xfrm>
          <a:prstGeom prst="rect">
            <a:avLst/>
          </a:prstGeom>
        </p:spPr>
        <p:txBody>
          <a:bodyPr wrap="square">
            <a:spAutoFit/>
          </a:bodyPr>
          <a:lstStyle>
            <a:lvl1pPr>
              <a:defRPr sz="1000" b="0" cap="all" baseline="0">
                <a:solidFill>
                  <a:schemeClr val="accent1"/>
                </a:solidFill>
                <a:latin typeface="Ubuntu" panose="020B050403060203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Type eyebrow text here</a:t>
            </a:r>
            <a:endParaRPr lang="fr-FR"/>
          </a:p>
        </p:txBody>
      </p:sp>
    </p:spTree>
    <p:extLst>
      <p:ext uri="{BB962C8B-B14F-4D97-AF65-F5344CB8AC3E}">
        <p14:creationId xmlns:p14="http://schemas.microsoft.com/office/powerpoint/2010/main" val="23171826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Only Title with breadcrumb">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CF64E02-7569-519C-C53E-34209EA09FFE}"/>
              </a:ext>
            </a:extLst>
          </p:cNvPr>
          <p:cNvSpPr/>
          <p:nvPr userDrawn="1"/>
        </p:nvSpPr>
        <p:spPr>
          <a:xfrm>
            <a:off x="0" y="-1"/>
            <a:ext cx="3783923" cy="2898181"/>
          </a:xfrm>
          <a:prstGeom prst="rect">
            <a:avLst/>
          </a:prstGeom>
          <a:solidFill>
            <a:schemeClr val="accent4"/>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7" name="Picture Placeholder 18">
            <a:extLst>
              <a:ext uri="{FF2B5EF4-FFF2-40B4-BE49-F238E27FC236}">
                <a16:creationId xmlns:a16="http://schemas.microsoft.com/office/drawing/2014/main" id="{04757F20-6CB0-12E1-BABE-F71000953556}"/>
              </a:ext>
            </a:extLst>
          </p:cNvPr>
          <p:cNvSpPr>
            <a:spLocks noGrp="1"/>
          </p:cNvSpPr>
          <p:nvPr>
            <p:ph type="pic" sz="quarter" idx="10" hasCustomPrompt="1"/>
          </p:nvPr>
        </p:nvSpPr>
        <p:spPr>
          <a:xfrm>
            <a:off x="0" y="2898180"/>
            <a:ext cx="3783923" cy="395982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hasCustomPrompt="1"/>
          </p:nvPr>
        </p:nvSpPr>
        <p:spPr>
          <a:xfrm>
            <a:off x="414971" y="530087"/>
            <a:ext cx="3281375" cy="882788"/>
          </a:xfrm>
        </p:spPr>
        <p:txBody>
          <a:bodyPr anchor="t"/>
          <a:lstStyle>
            <a:lvl1pPr>
              <a:defRPr sz="2000">
                <a:solidFill>
                  <a:schemeClr val="bg1"/>
                </a:solidFill>
              </a:defRPr>
            </a:lvl1pPr>
          </a:lstStyle>
          <a:p>
            <a:r>
              <a:rPr lang="en-US" noProof="0"/>
              <a:t>Insert page title (sentence case) </a:t>
            </a:r>
            <a:endParaRPr lang="de-DE"/>
          </a:p>
        </p:txBody>
      </p:sp>
      <p:sp>
        <p:nvSpPr>
          <p:cNvPr id="10" name="Text Placeholder 9">
            <a:extLst>
              <a:ext uri="{FF2B5EF4-FFF2-40B4-BE49-F238E27FC236}">
                <a16:creationId xmlns:a16="http://schemas.microsoft.com/office/drawing/2014/main" id="{73552CDD-69A5-4077-898E-6C7EE261EA3B}"/>
              </a:ext>
            </a:extLst>
          </p:cNvPr>
          <p:cNvSpPr>
            <a:spLocks noGrp="1"/>
          </p:cNvSpPr>
          <p:nvPr>
            <p:ph type="body" sz="quarter" idx="11" hasCustomPrompt="1"/>
          </p:nvPr>
        </p:nvSpPr>
        <p:spPr>
          <a:xfrm flipH="1">
            <a:off x="404810" y="214532"/>
            <a:ext cx="3291535" cy="315555"/>
          </a:xfrm>
        </p:spPr>
        <p:txBody>
          <a:bodyPr>
            <a:normAutofit/>
          </a:bodyPr>
          <a:lstStyle>
            <a:lvl1pPr>
              <a:defRPr sz="1050" b="0" cap="all" baseline="0">
                <a:solidFill>
                  <a:schemeClr val="accent2"/>
                </a:solidFill>
              </a:defRPr>
            </a:lvl1pPr>
            <a:lvl2pPr marL="0" indent="0">
              <a:buNone/>
              <a:defRPr/>
            </a:lvl2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Type eyebrow text here</a:t>
            </a:r>
            <a:endParaRPr lang="fr-FR"/>
          </a:p>
        </p:txBody>
      </p:sp>
      <p:sp>
        <p:nvSpPr>
          <p:cNvPr id="6" name="Text Placeholder 5">
            <a:extLst>
              <a:ext uri="{FF2B5EF4-FFF2-40B4-BE49-F238E27FC236}">
                <a16:creationId xmlns:a16="http://schemas.microsoft.com/office/drawing/2014/main" id="{19779E52-C592-7E5A-0B17-1E962FFE4991}"/>
              </a:ext>
            </a:extLst>
          </p:cNvPr>
          <p:cNvSpPr>
            <a:spLocks noGrp="1"/>
          </p:cNvSpPr>
          <p:nvPr>
            <p:ph type="body" sz="quarter" idx="12"/>
          </p:nvPr>
        </p:nvSpPr>
        <p:spPr>
          <a:xfrm>
            <a:off x="414971" y="1538149"/>
            <a:ext cx="3216124" cy="469555"/>
          </a:xfrm>
        </p:spPr>
        <p:txBody>
          <a:bodyPr/>
          <a:lstStyle>
            <a:lvl1pPr>
              <a:defRPr sz="1000">
                <a:solidFill>
                  <a:schemeClr val="bg1"/>
                </a:solidFill>
              </a:defRPr>
            </a:lvl1pPr>
            <a:lvl2pPr marL="0" indent="0">
              <a:buNone/>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3945983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wrap="square">
            <a:spAutoFit/>
          </a:bodyPr>
          <a:lstStyle>
            <a:lvl1pPr>
              <a:defRPr sz="1600" b="0">
                <a:solidFill>
                  <a:schemeClr val="accent1"/>
                </a:solidFill>
                <a:latin typeface="Ubuntu" panose="020B0504030602030204" pitchFamily="34" charset="0"/>
              </a:defRPr>
            </a:lvl1pPr>
          </a:lstStyle>
          <a:p>
            <a:pPr lvl="0"/>
            <a:r>
              <a:rPr lang="en-US"/>
              <a:t>Click to change the styles of the mask text</a:t>
            </a:r>
            <a:endParaRPr lang="fr-FR"/>
          </a:p>
        </p:txBody>
      </p:sp>
      <p:sp>
        <p:nvSpPr>
          <p:cNvPr id="2" name="Title 1">
            <a:extLst>
              <a:ext uri="{FF2B5EF4-FFF2-40B4-BE49-F238E27FC236}">
                <a16:creationId xmlns:a16="http://schemas.microsoft.com/office/drawing/2014/main" id="{DA3D6CCA-5023-D91C-5084-3ED466DC8001}"/>
              </a:ext>
            </a:extLst>
          </p:cNvPr>
          <p:cNvSpPr>
            <a:spLocks noGrp="1"/>
          </p:cNvSpPr>
          <p:nvPr>
            <p:ph type="title" hasCustomPrompt="1"/>
          </p:nvPr>
        </p:nvSpPr>
        <p:spPr/>
        <p:txBody>
          <a:bodyPr/>
          <a:lstStyle/>
          <a:p>
            <a:r>
              <a:rPr lang="en-US" noProof="0"/>
              <a:t>Insert page title (sentence case) </a:t>
            </a:r>
            <a:endParaRPr lang="en-US"/>
          </a:p>
        </p:txBody>
      </p:sp>
    </p:spTree>
    <p:extLst>
      <p:ext uri="{BB962C8B-B14F-4D97-AF65-F5344CB8AC3E}">
        <p14:creationId xmlns:p14="http://schemas.microsoft.com/office/powerpoint/2010/main" val="6834053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nd Subtitle_with breadcrumb">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wrap="square">
            <a:spAutoFit/>
          </a:bodyPr>
          <a:lstStyle>
            <a:lvl1pPr>
              <a:defRPr sz="1600" b="0">
                <a:solidFill>
                  <a:schemeClr val="accent1"/>
                </a:solidFill>
                <a:latin typeface="Ubuntu" panose="020B0504030602030204" pitchFamily="34" charset="0"/>
              </a:defRPr>
            </a:lvl1pPr>
          </a:lstStyle>
          <a:p>
            <a:pPr lvl="0"/>
            <a:r>
              <a:rPr lang="en-US"/>
              <a:t>Click to change the styles of the mask text</a:t>
            </a:r>
            <a:endParaRPr lang="fr-FR"/>
          </a:p>
        </p:txBody>
      </p:sp>
      <p:sp>
        <p:nvSpPr>
          <p:cNvPr id="2" name="Title 1">
            <a:extLst>
              <a:ext uri="{FF2B5EF4-FFF2-40B4-BE49-F238E27FC236}">
                <a16:creationId xmlns:a16="http://schemas.microsoft.com/office/drawing/2014/main" id="{DA3D6CCA-5023-D91C-5084-3ED466DC8001}"/>
              </a:ext>
            </a:extLst>
          </p:cNvPr>
          <p:cNvSpPr>
            <a:spLocks noGrp="1"/>
          </p:cNvSpPr>
          <p:nvPr>
            <p:ph type="title" hasCustomPrompt="1"/>
          </p:nvPr>
        </p:nvSpPr>
        <p:spPr/>
        <p:txBody>
          <a:bodyPr/>
          <a:lstStyle/>
          <a:p>
            <a:r>
              <a:rPr lang="en-US" noProof="0"/>
              <a:t>Insert page title (sentence case) </a:t>
            </a:r>
            <a:endParaRPr lang="en-US"/>
          </a:p>
        </p:txBody>
      </p:sp>
      <p:sp>
        <p:nvSpPr>
          <p:cNvPr id="3" name="Text Placeholder 9">
            <a:extLst>
              <a:ext uri="{FF2B5EF4-FFF2-40B4-BE49-F238E27FC236}">
                <a16:creationId xmlns:a16="http://schemas.microsoft.com/office/drawing/2014/main" id="{47CD8ECA-76B3-0FAC-74E0-56BCCCE83D4F}"/>
              </a:ext>
            </a:extLst>
          </p:cNvPr>
          <p:cNvSpPr>
            <a:spLocks noGrp="1"/>
          </p:cNvSpPr>
          <p:nvPr>
            <p:ph type="body" sz="quarter" idx="16" hasCustomPrompt="1"/>
          </p:nvPr>
        </p:nvSpPr>
        <p:spPr>
          <a:xfrm>
            <a:off x="414971" y="164754"/>
            <a:ext cx="5681029" cy="153888"/>
          </a:xfrm>
          <a:prstGeom prst="rect">
            <a:avLst/>
          </a:prstGeom>
        </p:spPr>
        <p:txBody>
          <a:bodyPr wrap="square">
            <a:spAutoFit/>
          </a:bodyPr>
          <a:lstStyle>
            <a:lvl1pPr>
              <a:defRPr sz="1000" b="0" cap="all" baseline="0">
                <a:solidFill>
                  <a:schemeClr val="accent1"/>
                </a:solidFill>
                <a:latin typeface="Ubuntu" panose="020B0504030602030204" pitchFamily="34" charset="0"/>
              </a:defRPr>
            </a:lvl1pPr>
          </a:lstStyle>
          <a:p>
            <a:pPr lvl="0"/>
            <a:r>
              <a:rPr lang="en-US"/>
              <a:t>Type eyebrow text here </a:t>
            </a:r>
          </a:p>
        </p:txBody>
      </p:sp>
    </p:spTree>
    <p:extLst>
      <p:ext uri="{BB962C8B-B14F-4D97-AF65-F5344CB8AC3E}">
        <p14:creationId xmlns:p14="http://schemas.microsoft.com/office/powerpoint/2010/main" val="8712509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accent1"/>
                </a:solidFill>
                <a:latin typeface="Ubuntu" panose="020B0504030602030204" pitchFamily="34" charset="0"/>
              </a:defRPr>
            </a:lvl1pPr>
          </a:lstStyle>
          <a:p>
            <a:pPr lvl="0"/>
            <a:r>
              <a:rPr lang="en-US"/>
              <a:t>Click to change the styles of the mask text</a:t>
            </a:r>
            <a:endParaRPr lang="fr-FR"/>
          </a:p>
        </p:txBody>
      </p:sp>
      <p:sp>
        <p:nvSpPr>
          <p:cNvPr id="5" name="Title 4">
            <a:extLst>
              <a:ext uri="{FF2B5EF4-FFF2-40B4-BE49-F238E27FC236}">
                <a16:creationId xmlns:a16="http://schemas.microsoft.com/office/drawing/2014/main" id="{0BA091BB-1771-4A6F-B93C-43E4798B4251}"/>
              </a:ext>
            </a:extLst>
          </p:cNvPr>
          <p:cNvSpPr>
            <a:spLocks noGrp="1"/>
          </p:cNvSpPr>
          <p:nvPr>
            <p:ph type="title" hasCustomPrompt="1"/>
          </p:nvPr>
        </p:nvSpPr>
        <p:spPr/>
        <p:txBody>
          <a:bodyPr/>
          <a:lstStyle/>
          <a:p>
            <a:r>
              <a:rPr lang="en-US" noProof="0"/>
              <a:t>Insert page title (sentence case) </a:t>
            </a:r>
            <a:endParaRPr lang="de-DE"/>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hasCustomPrompt="1"/>
          </p:nvPr>
        </p:nvSpPr>
        <p:spPr>
          <a:xfrm>
            <a:off x="414971" y="1624108"/>
            <a:ext cx="11369042" cy="4829080"/>
          </a:xfrm>
          <a:prstGeom prst="rect">
            <a:avLst/>
          </a:prstGeom>
        </p:spPr>
        <p:txBody>
          <a:bodyPr>
            <a:noAutofit/>
          </a:bodyPr>
          <a:lstStyle>
            <a:lvl3pPr marL="360000" indent="-180000">
              <a:buFont typeface="Verdana" panose="020B0604030504040204" pitchFamily="34" charset="0"/>
              <a:buChar char="–"/>
              <a:defRPr/>
            </a:lvl3pPr>
            <a:lvl4pPr marL="539750" indent="-180000">
              <a:buFont typeface="Arial" panose="020B0604020202020204" pitchFamily="34" charset="0"/>
              <a:buChar char="•"/>
              <a:defRPr/>
            </a:lvl4pPr>
            <a:lvl5pPr marL="719138" indent="-180975">
              <a:buFont typeface="Courier New" panose="02070309020205020404" pitchFamily="49" charset="0"/>
              <a:buChar char="o"/>
              <a:defRPr/>
            </a:lvl5pPr>
          </a:lstStyle>
          <a:p>
            <a:pPr lvl="0"/>
            <a:r>
              <a:rPr lang="en-US" noProof="0"/>
              <a:t>Click to change the styles of the mask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669911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hasCustomPrompt="1"/>
          </p:nvPr>
        </p:nvSpPr>
        <p:spPr/>
        <p:txBody>
          <a:bodyPr/>
          <a:lstStyle/>
          <a:p>
            <a:r>
              <a:rPr lang="en-US" noProof="0"/>
              <a:t>Insert page title (sentence case) </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9" y="1628775"/>
            <a:ext cx="5532086" cy="743987"/>
          </a:xfrm>
          <a:prstGeom prst="rect">
            <a:avLst/>
          </a:prstGeom>
        </p:spPr>
        <p:txBody>
          <a:bodyPr anchor="ctr" anchorCtr="0">
            <a:noAutofit/>
          </a:bodyPr>
          <a:lstStyle>
            <a:lvl1pPr>
              <a:lnSpc>
                <a:spcPct val="100000"/>
              </a:lnSpc>
              <a:defRPr sz="1800" b="0">
                <a:solidFill>
                  <a:srgbClr val="0070AD"/>
                </a:solidFill>
                <a:latin typeface="+mj-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14972" y="2506942"/>
            <a:ext cx="5525185" cy="3743963"/>
          </a:xfrm>
          <a:prstGeom prst="rect">
            <a:avLst/>
          </a:prstGeom>
        </p:spPr>
        <p:txBody>
          <a:bodyPr>
            <a:noAutofit/>
          </a:bodyPr>
          <a:lstStyle>
            <a:lvl1pPr>
              <a:lnSpc>
                <a:spcPct val="100000"/>
              </a:lnSpc>
              <a:spcBef>
                <a:spcPts val="0"/>
              </a:spcBef>
              <a:spcAft>
                <a:spcPts val="600"/>
              </a:spcAft>
              <a:defRPr sz="1400"/>
            </a:lvl1pPr>
            <a:lvl2pPr>
              <a:lnSpc>
                <a:spcPct val="100000"/>
              </a:lnSpc>
              <a:spcBef>
                <a:spcPts val="0"/>
              </a:spcBef>
              <a:spcAft>
                <a:spcPts val="600"/>
              </a:spcAft>
              <a:defRPr sz="1400"/>
            </a:lvl2pPr>
            <a:lvl3pPr marL="360000" indent="-180000">
              <a:lnSpc>
                <a:spcPct val="100000"/>
              </a:lnSpc>
              <a:spcBef>
                <a:spcPts val="0"/>
              </a:spcBef>
              <a:spcAft>
                <a:spcPts val="600"/>
              </a:spcAft>
              <a:buFont typeface="Verdana" panose="020B0604030504040204" pitchFamily="34" charset="0"/>
              <a:buChar char="–"/>
              <a:defRPr sz="1400"/>
            </a:lvl3pPr>
            <a:lvl4pPr marL="539750" indent="-180000">
              <a:lnSpc>
                <a:spcPct val="100000"/>
              </a:lnSpc>
              <a:spcBef>
                <a:spcPts val="0"/>
              </a:spcBef>
              <a:spcAft>
                <a:spcPts val="600"/>
              </a:spcAft>
              <a:buFont typeface="Arial" panose="020B0604020202020204" pitchFamily="34" charset="0"/>
              <a:buChar char="•"/>
              <a:defRPr sz="1400"/>
            </a:lvl4pPr>
            <a:lvl5pPr marL="719138" indent="-180975">
              <a:lnSpc>
                <a:spcPct val="100000"/>
              </a:lnSpc>
              <a:spcBef>
                <a:spcPts val="0"/>
              </a:spcBef>
              <a:spcAft>
                <a:spcPts val="600"/>
              </a:spcAft>
              <a:buFont typeface="Courier New" panose="02070309020205020404" pitchFamily="49" charset="0"/>
              <a:buChar char="o"/>
              <a:defRPr sz="1400"/>
            </a:lvl5pPr>
          </a:lstStyle>
          <a:p>
            <a:pPr lvl="0"/>
            <a:r>
              <a:rPr lang="en-US" noProof="0"/>
              <a:t>Click to change the styles of the mask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332425" y="1628775"/>
            <a:ext cx="5451505" cy="743987"/>
          </a:xfrm>
          <a:prstGeom prst="rect">
            <a:avLst/>
          </a:prstGeom>
        </p:spPr>
        <p:txBody>
          <a:bodyPr anchor="ctr" anchorCtr="0">
            <a:noAutofit/>
          </a:bodyPr>
          <a:lstStyle>
            <a:lvl1pPr>
              <a:lnSpc>
                <a:spcPct val="100000"/>
              </a:lnSpc>
              <a:defRPr sz="1800" b="0">
                <a:solidFill>
                  <a:srgbClr val="0070AD"/>
                </a:solidFill>
                <a:latin typeface="+mj-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hasCustomPrompt="1"/>
          </p:nvPr>
        </p:nvSpPr>
        <p:spPr>
          <a:xfrm>
            <a:off x="6332425" y="2506943"/>
            <a:ext cx="5444603" cy="3743962"/>
          </a:xfrm>
          <a:prstGeom prst="rect">
            <a:avLst/>
          </a:prstGeom>
        </p:spPr>
        <p:txBody>
          <a:bodyPr>
            <a:noAutofit/>
          </a:bodyPr>
          <a:lstStyle>
            <a:lvl1pPr>
              <a:lnSpc>
                <a:spcPct val="100000"/>
              </a:lnSpc>
              <a:spcBef>
                <a:spcPts val="0"/>
              </a:spcBef>
              <a:spcAft>
                <a:spcPts val="600"/>
              </a:spcAft>
              <a:defRPr sz="1400"/>
            </a:lvl1pPr>
            <a:lvl2pPr>
              <a:lnSpc>
                <a:spcPct val="100000"/>
              </a:lnSpc>
              <a:spcBef>
                <a:spcPts val="0"/>
              </a:spcBef>
              <a:spcAft>
                <a:spcPts val="600"/>
              </a:spcAft>
              <a:defRPr sz="1400"/>
            </a:lvl2pPr>
            <a:lvl3pPr>
              <a:lnSpc>
                <a:spcPct val="100000"/>
              </a:lnSpc>
              <a:spcBef>
                <a:spcPts val="0"/>
              </a:spcBef>
              <a:spcAft>
                <a:spcPts val="600"/>
              </a:spcAft>
              <a:defRPr sz="1400"/>
            </a:lvl3pPr>
            <a:lvl4pPr>
              <a:lnSpc>
                <a:spcPct val="100000"/>
              </a:lnSpc>
              <a:spcBef>
                <a:spcPts val="0"/>
              </a:spcBef>
              <a:spcAft>
                <a:spcPts val="600"/>
              </a:spcAft>
              <a:defRPr sz="1400"/>
            </a:lvl4pPr>
            <a:lvl5pPr>
              <a:lnSpc>
                <a:spcPct val="100000"/>
              </a:lnSpc>
              <a:spcBef>
                <a:spcPts val="0"/>
              </a:spcBef>
              <a:spcAft>
                <a:spcPts val="600"/>
              </a:spcAft>
              <a:defRPr sz="1400"/>
            </a:lvl5pPr>
          </a:lstStyle>
          <a:p>
            <a:pPr lvl="0"/>
            <a:r>
              <a:rPr lang="en-US" noProof="0"/>
              <a:t>Click to change the styles of the mask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960092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3 columns 1">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14971" y="1628775"/>
            <a:ext cx="3672000"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14971" y="2565359"/>
            <a:ext cx="3672000" cy="3527937"/>
          </a:xfrm>
          <a:prstGeom prst="rect">
            <a:avLst/>
          </a:prstGeom>
        </p:spPr>
        <p:txBody>
          <a:bodyPr>
            <a:noAutofit/>
          </a:bodyPr>
          <a:lstStyle>
            <a:lvl1pPr>
              <a:lnSpc>
                <a:spcPct val="100000"/>
              </a:lnSpc>
              <a:spcBef>
                <a:spcPts val="600"/>
              </a:spcBef>
              <a:defRPr sz="1400"/>
            </a:lvl1pPr>
            <a:lvl2pPr>
              <a:lnSpc>
                <a:spcPct val="100000"/>
              </a:lnSpc>
              <a:spcBef>
                <a:spcPts val="600"/>
              </a:spcBef>
              <a:defRPr sz="1400"/>
            </a:lvl2pPr>
            <a:lvl3pPr marL="360000" indent="-180000">
              <a:lnSpc>
                <a:spcPct val="100000"/>
              </a:lnSpc>
              <a:spcBef>
                <a:spcPts val="600"/>
              </a:spcBef>
              <a:buFont typeface="Verdana" panose="020B0604030504040204" pitchFamily="34" charset="0"/>
              <a:buChar char="–"/>
              <a:defRPr sz="1400"/>
            </a:lvl3pPr>
            <a:lvl4pPr marL="539750" indent="-180000">
              <a:lnSpc>
                <a:spcPct val="100000"/>
              </a:lnSpc>
              <a:spcBef>
                <a:spcPts val="600"/>
              </a:spcBef>
              <a:buFont typeface="Arial" panose="020B0604020202020204" pitchFamily="34" charset="0"/>
              <a:buChar char="•"/>
              <a:defRPr sz="1400"/>
            </a:lvl4pPr>
            <a:lvl5pPr marL="719138" indent="-180975">
              <a:lnSpc>
                <a:spcPct val="100000"/>
              </a:lnSpc>
              <a:spcBef>
                <a:spcPts val="600"/>
              </a:spcBef>
              <a:buFont typeface="Courier New" panose="02070309020205020404" pitchFamily="49" charset="0"/>
              <a:buChar char="o"/>
              <a:defRPr sz="1400"/>
            </a:lvl5pPr>
          </a:lstStyle>
          <a:p>
            <a:pPr lvl="0"/>
            <a:r>
              <a:rPr lang="en-US" noProof="0"/>
              <a:t>Click to change the styles of the mask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260000" y="1628774"/>
            <a:ext cx="3672000"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hasCustomPrompt="1"/>
          </p:nvPr>
        </p:nvSpPr>
        <p:spPr>
          <a:xfrm>
            <a:off x="4260000" y="2565359"/>
            <a:ext cx="3672000" cy="3527937"/>
          </a:xfrm>
          <a:prstGeom prst="rect">
            <a:avLst/>
          </a:prstGeom>
        </p:spPr>
        <p:txBody>
          <a:bodyPr>
            <a:noAutofit/>
          </a:bodyPr>
          <a:lstStyle>
            <a:lvl1pPr>
              <a:lnSpc>
                <a:spcPct val="100000"/>
              </a:lnSpc>
              <a:spcBef>
                <a:spcPts val="600"/>
              </a:spcBef>
              <a:defRPr sz="1400"/>
            </a:lvl1pPr>
            <a:lvl2pPr>
              <a:lnSpc>
                <a:spcPct val="100000"/>
              </a:lnSpc>
              <a:spcBef>
                <a:spcPts val="600"/>
              </a:spcBef>
              <a:defRPr sz="1400"/>
            </a:lvl2pPr>
            <a:lvl3pPr marL="360000" indent="-180000" algn="l" defTabSz="914400" rtl="0" eaLnBrk="1" latinLnBrk="0" hangingPunct="1">
              <a:lnSpc>
                <a:spcPct val="100000"/>
              </a:lnSpc>
              <a:spcBef>
                <a:spcPts val="600"/>
              </a:spcBef>
              <a:buClrTx/>
              <a:buFont typeface="Verdana" panose="020B0604030504040204" pitchFamily="34" charset="0"/>
              <a:buChar char="–"/>
              <a:defRPr lang="fr-FR" sz="1400" kern="1200" dirty="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Arial" panose="020B0604020202020204" pitchFamily="34" charset="0"/>
              <a:buChar char="•"/>
              <a:tabLst/>
              <a:defRPr lang="fr-FR" sz="1400" kern="1200" dirty="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Courier New" panose="02070309020205020404" pitchFamily="49" charset="0"/>
              <a:buChar char="o"/>
              <a:defRPr lang="en-US" sz="1400" kern="1200" dirty="0">
                <a:solidFill>
                  <a:schemeClr val="tx1"/>
                </a:solidFill>
                <a:latin typeface="+mn-lt"/>
                <a:ea typeface="+mn-ea"/>
                <a:cs typeface="+mn-cs"/>
              </a:defRPr>
            </a:lvl5pPr>
          </a:lstStyle>
          <a:p>
            <a:pPr lvl="0"/>
            <a:r>
              <a:rPr lang="en-US"/>
              <a:t>Click </a:t>
            </a:r>
            <a:r>
              <a:rPr lang="en-US" noProof="0"/>
              <a:t>to change the styles of the mask text</a:t>
            </a:r>
          </a:p>
          <a:p>
            <a:pPr lvl="1"/>
            <a:r>
              <a:rPr lang="en-US" noProof="0"/>
              <a:t>Second level</a:t>
            </a:r>
          </a:p>
          <a:p>
            <a:pPr marL="360000" lvl="2" indent="-180000" algn="l" defTabSz="914400" rtl="0" eaLnBrk="1" latinLnBrk="0" hangingPunct="1">
              <a:lnSpc>
                <a:spcPct val="100000"/>
              </a:lnSpc>
              <a:spcBef>
                <a:spcPts val="600"/>
              </a:spcBef>
              <a:buClrTx/>
              <a:buFont typeface="Verdana" panose="020B0604030504040204" pitchFamily="34" charset="0"/>
              <a:buChar char="–"/>
            </a:pPr>
            <a:r>
              <a:rPr lang="en-US" noProof="0"/>
              <a:t>Third level</a:t>
            </a:r>
          </a:p>
          <a:p>
            <a:pPr marL="539750" lvl="3" indent="-180000" algn="l" defTabSz="914400" rtl="0" eaLnBrk="1" latinLnBrk="0" hangingPunct="1">
              <a:lnSpc>
                <a:spcPct val="100000"/>
              </a:lnSpc>
              <a:spcBef>
                <a:spcPts val="600"/>
              </a:spcBef>
              <a:buClrTx/>
              <a:buFont typeface="Arial" panose="020B0604020202020204" pitchFamily="34" charset="0"/>
              <a:buChar char="•"/>
              <a:tabLst/>
            </a:pPr>
            <a:r>
              <a:rPr lang="en-US" noProof="0"/>
              <a:t>Fourth Level</a:t>
            </a:r>
          </a:p>
          <a:p>
            <a:pPr marL="719138" lvl="4" indent="-180975" algn="l" defTabSz="914400" rtl="0" eaLnBrk="1" latinLnBrk="0" hangingPunct="1">
              <a:lnSpc>
                <a:spcPct val="100000"/>
              </a:lnSpc>
              <a:spcBef>
                <a:spcPts val="600"/>
              </a:spcBef>
              <a:buClrTx/>
              <a:buFont typeface="Courier New" panose="02070309020205020404" pitchFamily="49" charset="0"/>
              <a:buChar char="o"/>
            </a:pPr>
            <a:r>
              <a:rPr lang="en-US" noProof="0"/>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105029" y="1628774"/>
            <a:ext cx="3672000"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hasCustomPrompt="1"/>
          </p:nvPr>
        </p:nvSpPr>
        <p:spPr>
          <a:xfrm>
            <a:off x="8105029" y="2565359"/>
            <a:ext cx="3672000" cy="3527937"/>
          </a:xfrm>
          <a:prstGeom prst="rect">
            <a:avLst/>
          </a:prstGeom>
        </p:spPr>
        <p:txBody>
          <a:bodyPr>
            <a:noAutofit/>
          </a:bodyPr>
          <a:lstStyle>
            <a:lvl1pPr>
              <a:lnSpc>
                <a:spcPct val="100000"/>
              </a:lnSpc>
              <a:spcBef>
                <a:spcPts val="600"/>
              </a:spcBef>
              <a:defRPr sz="1400"/>
            </a:lvl1pPr>
            <a:lvl2pPr>
              <a:lnSpc>
                <a:spcPct val="100000"/>
              </a:lnSpc>
              <a:spcBef>
                <a:spcPts val="600"/>
              </a:spcBef>
              <a:defRPr sz="1400"/>
            </a:lvl2pPr>
            <a:lvl3pPr marL="360000" indent="-180000" algn="l" defTabSz="914400" rtl="0" eaLnBrk="1" latinLnBrk="0" hangingPunct="1">
              <a:lnSpc>
                <a:spcPct val="100000"/>
              </a:lnSpc>
              <a:spcBef>
                <a:spcPts val="600"/>
              </a:spcBef>
              <a:buClrTx/>
              <a:buFont typeface="Verdana" panose="020B0604030504040204" pitchFamily="34" charset="0"/>
              <a:buChar char="–"/>
              <a:defRPr lang="fr-FR" sz="1400" kern="1200" dirty="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Arial" panose="020B0604020202020204" pitchFamily="34" charset="0"/>
              <a:buChar char="•"/>
              <a:tabLst/>
              <a:defRPr lang="fr-FR" sz="1400" kern="1200" dirty="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Courier New" panose="02070309020205020404" pitchFamily="49" charset="0"/>
              <a:buChar char="o"/>
              <a:defRPr lang="en-US" sz="1400" kern="1200" dirty="0">
                <a:solidFill>
                  <a:schemeClr val="tx1"/>
                </a:solidFill>
                <a:latin typeface="+mn-lt"/>
                <a:ea typeface="+mn-ea"/>
                <a:cs typeface="+mn-cs"/>
              </a:defRPr>
            </a:lvl5pPr>
          </a:lstStyle>
          <a:p>
            <a:pPr lvl="0"/>
            <a:r>
              <a:rPr lang="en-US" noProof="0"/>
              <a:t>Click to change the styles of the mask text</a:t>
            </a:r>
          </a:p>
          <a:p>
            <a:pPr lvl="1"/>
            <a:r>
              <a:rPr lang="en-US" noProof="0"/>
              <a:t>Second level</a:t>
            </a:r>
          </a:p>
          <a:p>
            <a:pPr marL="360000" lvl="2" indent="-180000" algn="l" defTabSz="914400" rtl="0" eaLnBrk="1" latinLnBrk="0" hangingPunct="1">
              <a:lnSpc>
                <a:spcPct val="100000"/>
              </a:lnSpc>
              <a:spcBef>
                <a:spcPts val="600"/>
              </a:spcBef>
              <a:buClrTx/>
              <a:buFont typeface="Verdana" panose="020B0604030504040204" pitchFamily="34" charset="0"/>
              <a:buChar char="–"/>
            </a:pPr>
            <a:r>
              <a:rPr lang="en-US" noProof="0"/>
              <a:t>Third level</a:t>
            </a:r>
          </a:p>
          <a:p>
            <a:pPr marL="539750" lvl="3" indent="-180000" algn="l" defTabSz="914400" rtl="0" eaLnBrk="1" latinLnBrk="0" hangingPunct="1">
              <a:lnSpc>
                <a:spcPct val="100000"/>
              </a:lnSpc>
              <a:spcBef>
                <a:spcPts val="600"/>
              </a:spcBef>
              <a:buClrTx/>
              <a:buFont typeface="Arial" panose="020B0604020202020204" pitchFamily="34" charset="0"/>
              <a:buChar char="•"/>
              <a:tabLst/>
            </a:pPr>
            <a:r>
              <a:rPr lang="en-US" noProof="0"/>
              <a:t>Fourth Level</a:t>
            </a:r>
          </a:p>
          <a:p>
            <a:pPr marL="719138" lvl="4" indent="-180975" algn="l" defTabSz="914400" rtl="0" eaLnBrk="1" latinLnBrk="0" hangingPunct="1">
              <a:lnSpc>
                <a:spcPct val="100000"/>
              </a:lnSpc>
              <a:spcBef>
                <a:spcPts val="600"/>
              </a:spcBef>
              <a:buClrTx/>
              <a:buFont typeface="Courier New" panose="02070309020205020404" pitchFamily="49" charset="0"/>
              <a:buChar char="o"/>
            </a:pPr>
            <a:r>
              <a:rPr lang="en-US" noProof="0"/>
              <a:t>Fifth Level</a:t>
            </a:r>
          </a:p>
        </p:txBody>
      </p:sp>
      <p:sp>
        <p:nvSpPr>
          <p:cNvPr id="2" name="Title 1">
            <a:extLst>
              <a:ext uri="{FF2B5EF4-FFF2-40B4-BE49-F238E27FC236}">
                <a16:creationId xmlns:a16="http://schemas.microsoft.com/office/drawing/2014/main" id="{F0A5A680-E072-89A5-A555-973742DEFD13}"/>
              </a:ext>
            </a:extLst>
          </p:cNvPr>
          <p:cNvSpPr>
            <a:spLocks noGrp="1"/>
          </p:cNvSpPr>
          <p:nvPr>
            <p:ph type="title" hasCustomPrompt="1"/>
          </p:nvPr>
        </p:nvSpPr>
        <p:spPr/>
        <p:txBody>
          <a:bodyPr/>
          <a:lstStyle/>
          <a:p>
            <a:r>
              <a:rPr lang="en-US" noProof="0"/>
              <a:t>Insert page title (sentence case) </a:t>
            </a:r>
            <a:endParaRPr lang="en-US"/>
          </a:p>
        </p:txBody>
      </p:sp>
    </p:spTree>
    <p:extLst>
      <p:ext uri="{BB962C8B-B14F-4D97-AF65-F5344CB8AC3E}">
        <p14:creationId xmlns:p14="http://schemas.microsoft.com/office/powerpoint/2010/main" val="32816094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Empty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04283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Gre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hasCustomPrompt="1"/>
          </p:nvPr>
        </p:nvSpPr>
        <p:spPr/>
        <p:txBody>
          <a:bodyPr/>
          <a:lstStyle/>
          <a:p>
            <a:r>
              <a:rPr lang="en-US" noProof="0"/>
              <a:t>Insert page title (sentence case) </a:t>
            </a:r>
            <a:endParaRPr lang="en-US"/>
          </a:p>
        </p:txBody>
      </p:sp>
    </p:spTree>
    <p:extLst>
      <p:ext uri="{BB962C8B-B14F-4D97-AF65-F5344CB8AC3E}">
        <p14:creationId xmlns:p14="http://schemas.microsoft.com/office/powerpoint/2010/main" val="37337192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accent1"/>
                </a:solidFill>
                <a:latin typeface="Ubuntu" panose="020B0504030602030204" pitchFamily="34" charset="0"/>
              </a:defRPr>
            </a:lvl1pPr>
          </a:lstStyle>
          <a:p>
            <a:pPr lvl="0"/>
            <a:r>
              <a:rPr lang="en-US"/>
              <a:t>Click to change the styles of the mask text</a:t>
            </a:r>
            <a:endParaRPr lang="fr-FR"/>
          </a:p>
        </p:txBody>
      </p:sp>
      <p:sp>
        <p:nvSpPr>
          <p:cNvPr id="2" name="Title 1">
            <a:extLst>
              <a:ext uri="{FF2B5EF4-FFF2-40B4-BE49-F238E27FC236}">
                <a16:creationId xmlns:a16="http://schemas.microsoft.com/office/drawing/2014/main" id="{96963528-AA21-5972-C236-27F2D7209CFD}"/>
              </a:ext>
            </a:extLst>
          </p:cNvPr>
          <p:cNvSpPr>
            <a:spLocks noGrp="1"/>
          </p:cNvSpPr>
          <p:nvPr>
            <p:ph type="title" hasCustomPrompt="1"/>
          </p:nvPr>
        </p:nvSpPr>
        <p:spPr/>
        <p:txBody>
          <a:bodyPr/>
          <a:lstStyle/>
          <a:p>
            <a:r>
              <a:rPr lang="en-US" noProof="0"/>
              <a:t>Insert page title (sentence case) </a:t>
            </a:r>
            <a:endParaRPr lang="en-US"/>
          </a:p>
        </p:txBody>
      </p:sp>
    </p:spTree>
    <p:extLst>
      <p:ext uri="{BB962C8B-B14F-4D97-AF65-F5344CB8AC3E}">
        <p14:creationId xmlns:p14="http://schemas.microsoft.com/office/powerpoint/2010/main" val="17644418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70ACFCFC-1DDE-342C-6F6C-421985D8A34A}"/>
              </a:ext>
            </a:extLst>
          </p:cNvPr>
          <p:cNvSpPr>
            <a:spLocks noGrp="1"/>
          </p:cNvSpPr>
          <p:nvPr>
            <p:ph type="subTitle" idx="1" hasCustomPrompt="1"/>
          </p:nvPr>
        </p:nvSpPr>
        <p:spPr>
          <a:xfrm>
            <a:off x="407988" y="5460790"/>
            <a:ext cx="11090275"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insert subtitle (sentence case) </a:t>
            </a:r>
          </a:p>
        </p:txBody>
      </p:sp>
      <p:sp>
        <p:nvSpPr>
          <p:cNvPr id="15" name="Title">
            <a:extLst>
              <a:ext uri="{FF2B5EF4-FFF2-40B4-BE49-F238E27FC236}">
                <a16:creationId xmlns:a16="http://schemas.microsoft.com/office/drawing/2014/main" id="{BA5DDAC5-BAB8-79F8-0B48-89767D2C03B3}"/>
              </a:ext>
            </a:extLst>
          </p:cNvPr>
          <p:cNvSpPr>
            <a:spLocks noGrp="1"/>
          </p:cNvSpPr>
          <p:nvPr>
            <p:ph type="ctrTitle" hasCustomPrompt="1"/>
          </p:nvPr>
        </p:nvSpPr>
        <p:spPr>
          <a:xfrm>
            <a:off x="40798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Click to insert cover </a:t>
            </a:r>
            <a:r>
              <a:rPr lang="fr-FR" err="1"/>
              <a:t>title</a:t>
            </a:r>
            <a:r>
              <a:rPr lang="fr-FR"/>
              <a:t> (sentence case) </a:t>
            </a:r>
            <a:endParaRPr lang="en-GB"/>
          </a:p>
        </p:txBody>
      </p:sp>
      <p:grpSp>
        <p:nvGrpSpPr>
          <p:cNvPr id="3" name="Group 2">
            <a:extLst>
              <a:ext uri="{FF2B5EF4-FFF2-40B4-BE49-F238E27FC236}">
                <a16:creationId xmlns:a16="http://schemas.microsoft.com/office/drawing/2014/main" id="{337935B1-1E9A-902D-1107-E84E1CDCC3AB}"/>
              </a:ext>
            </a:extLst>
          </p:cNvPr>
          <p:cNvGrpSpPr>
            <a:grpSpLocks noChangeAspect="1"/>
          </p:cNvGrpSpPr>
          <p:nvPr userDrawn="1"/>
        </p:nvGrpSpPr>
        <p:grpSpPr>
          <a:xfrm>
            <a:off x="443568" y="6021288"/>
            <a:ext cx="1872000" cy="420870"/>
            <a:chOff x="5094083" y="5360390"/>
            <a:chExt cx="3039349" cy="683316"/>
          </a:xfrm>
        </p:grpSpPr>
        <p:sp>
          <p:nvSpPr>
            <p:cNvPr id="5" name="Freeform: Shape 4">
              <a:extLst>
                <a:ext uri="{FF2B5EF4-FFF2-40B4-BE49-F238E27FC236}">
                  <a16:creationId xmlns:a16="http://schemas.microsoft.com/office/drawing/2014/main" id="{9BAB5440-AAF9-D636-D963-1CF51D4EEE3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6" name="Freeform: Shape 5">
              <a:extLst>
                <a:ext uri="{FF2B5EF4-FFF2-40B4-BE49-F238E27FC236}">
                  <a16:creationId xmlns:a16="http://schemas.microsoft.com/office/drawing/2014/main" id="{89CD0850-5040-0CC6-F657-BF2242F63884}"/>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7" name="Freeform: Shape 6">
              <a:extLst>
                <a:ext uri="{FF2B5EF4-FFF2-40B4-BE49-F238E27FC236}">
                  <a16:creationId xmlns:a16="http://schemas.microsoft.com/office/drawing/2014/main" id="{408F4CC8-6692-0A4C-C931-B50A99D5E8D4}"/>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8" name="Freeform: Shape 7">
              <a:extLst>
                <a:ext uri="{FF2B5EF4-FFF2-40B4-BE49-F238E27FC236}">
                  <a16:creationId xmlns:a16="http://schemas.microsoft.com/office/drawing/2014/main" id="{9645E874-9471-204B-FEA4-29B6C383031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9" name="Freeform: Shape 8">
              <a:extLst>
                <a:ext uri="{FF2B5EF4-FFF2-40B4-BE49-F238E27FC236}">
                  <a16:creationId xmlns:a16="http://schemas.microsoft.com/office/drawing/2014/main" id="{8CD723AF-3402-E7B5-291B-2ABCD137B39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
        <p:nvSpPr>
          <p:cNvPr id="2" name="Graphic 3">
            <a:extLst>
              <a:ext uri="{FF2B5EF4-FFF2-40B4-BE49-F238E27FC236}">
                <a16:creationId xmlns:a16="http://schemas.microsoft.com/office/drawing/2014/main" id="{0D2B0800-B844-CF61-22AC-FEEA5F5FD848}"/>
              </a:ext>
            </a:extLst>
          </p:cNvPr>
          <p:cNvSpPr/>
          <p:nvPr userDrawn="1"/>
        </p:nvSpPr>
        <p:spPr>
          <a:xfrm>
            <a:off x="4342926" y="-1572567"/>
            <a:ext cx="8525455" cy="7058967"/>
          </a:xfrm>
          <a:custGeom>
            <a:avLst/>
            <a:gdLst>
              <a:gd name="connsiteX0" fmla="*/ 5788629 w 5795867"/>
              <a:gd name="connsiteY0" fmla="*/ 87743 h 4798903"/>
              <a:gd name="connsiteX1" fmla="*/ 5790438 w 5795867"/>
              <a:gd name="connsiteY1" fmla="*/ 78409 h 4798903"/>
              <a:gd name="connsiteX2" fmla="*/ 5792248 w 5795867"/>
              <a:gd name="connsiteY2" fmla="*/ 69074 h 4798903"/>
              <a:gd name="connsiteX3" fmla="*/ 5794058 w 5795867"/>
              <a:gd name="connsiteY3" fmla="*/ 59740 h 4798903"/>
              <a:gd name="connsiteX4" fmla="*/ 5795868 w 5795867"/>
              <a:gd name="connsiteY4" fmla="*/ 50405 h 4798903"/>
              <a:gd name="connsiteX5" fmla="*/ 5515261 w 5795867"/>
              <a:gd name="connsiteY5" fmla="*/ 13734 h 4798903"/>
              <a:gd name="connsiteX6" fmla="*/ 5313712 w 5795867"/>
              <a:gd name="connsiteY6" fmla="*/ 1447 h 4798903"/>
              <a:gd name="connsiteX7" fmla="*/ 5192459 w 5795867"/>
              <a:gd name="connsiteY7" fmla="*/ 18 h 4798903"/>
              <a:gd name="connsiteX8" fmla="*/ 5151977 w 5795867"/>
              <a:gd name="connsiteY8" fmla="*/ 685 h 4798903"/>
              <a:gd name="connsiteX9" fmla="*/ 4808982 w 5795867"/>
              <a:gd name="connsiteY9" fmla="*/ 35165 h 4798903"/>
              <a:gd name="connsiteX10" fmla="*/ 4584287 w 5795867"/>
              <a:gd name="connsiteY10" fmla="*/ 100221 h 4798903"/>
              <a:gd name="connsiteX11" fmla="*/ 4530376 w 5795867"/>
              <a:gd name="connsiteY11" fmla="*/ 123938 h 4798903"/>
              <a:gd name="connsiteX12" fmla="*/ 4478370 w 5795867"/>
              <a:gd name="connsiteY12" fmla="*/ 151942 h 4798903"/>
              <a:gd name="connsiteX13" fmla="*/ 4428363 w 5795867"/>
              <a:gd name="connsiteY13" fmla="*/ 183755 h 4798903"/>
              <a:gd name="connsiteX14" fmla="*/ 4381596 w 5795867"/>
              <a:gd name="connsiteY14" fmla="*/ 220522 h 4798903"/>
              <a:gd name="connsiteX15" fmla="*/ 4338352 w 5795867"/>
              <a:gd name="connsiteY15" fmla="*/ 261670 h 4798903"/>
              <a:gd name="connsiteX16" fmla="*/ 4300347 w 5795867"/>
              <a:gd name="connsiteY16" fmla="*/ 307866 h 4798903"/>
              <a:gd name="connsiteX17" fmla="*/ 4241673 w 5795867"/>
              <a:gd name="connsiteY17" fmla="*/ 411974 h 4798903"/>
              <a:gd name="connsiteX18" fmla="*/ 4235863 w 5795867"/>
              <a:gd name="connsiteY18" fmla="*/ 425785 h 4798903"/>
              <a:gd name="connsiteX19" fmla="*/ 4231005 w 5795867"/>
              <a:gd name="connsiteY19" fmla="*/ 439978 h 4798903"/>
              <a:gd name="connsiteX20" fmla="*/ 4221766 w 5795867"/>
              <a:gd name="connsiteY20" fmla="*/ 468362 h 4798903"/>
              <a:gd name="connsiteX21" fmla="*/ 4208812 w 5795867"/>
              <a:gd name="connsiteY21" fmla="*/ 526560 h 4798903"/>
              <a:gd name="connsiteX22" fmla="*/ 4204240 w 5795867"/>
              <a:gd name="connsiteY22" fmla="*/ 555992 h 4798903"/>
              <a:gd name="connsiteX23" fmla="*/ 4201478 w 5795867"/>
              <a:gd name="connsiteY23" fmla="*/ 585520 h 4798903"/>
              <a:gd name="connsiteX24" fmla="*/ 4199954 w 5795867"/>
              <a:gd name="connsiteY24" fmla="*/ 615142 h 4798903"/>
              <a:gd name="connsiteX25" fmla="*/ 4199192 w 5795867"/>
              <a:gd name="connsiteY25" fmla="*/ 644765 h 4798903"/>
              <a:gd name="connsiteX26" fmla="*/ 4203287 w 5795867"/>
              <a:gd name="connsiteY26" fmla="*/ 715726 h 4798903"/>
              <a:gd name="connsiteX27" fmla="*/ 4207097 w 5795867"/>
              <a:gd name="connsiteY27" fmla="*/ 750969 h 4798903"/>
              <a:gd name="connsiteX28" fmla="*/ 4212717 w 5795867"/>
              <a:gd name="connsiteY28" fmla="*/ 785926 h 4798903"/>
              <a:gd name="connsiteX29" fmla="*/ 4215575 w 5795867"/>
              <a:gd name="connsiteY29" fmla="*/ 803356 h 4798903"/>
              <a:gd name="connsiteX30" fmla="*/ 4219289 w 5795867"/>
              <a:gd name="connsiteY30" fmla="*/ 820597 h 4798903"/>
              <a:gd name="connsiteX31" fmla="*/ 4226719 w 5795867"/>
              <a:gd name="connsiteY31" fmla="*/ 855077 h 4798903"/>
              <a:gd name="connsiteX32" fmla="*/ 4244816 w 5795867"/>
              <a:gd name="connsiteY32" fmla="*/ 923181 h 4798903"/>
              <a:gd name="connsiteX33" fmla="*/ 4266343 w 5795867"/>
              <a:gd name="connsiteY33" fmla="*/ 990142 h 4798903"/>
              <a:gd name="connsiteX34" fmla="*/ 4290632 w 5795867"/>
              <a:gd name="connsiteY34" fmla="*/ 1055959 h 4798903"/>
              <a:gd name="connsiteX35" fmla="*/ 4317302 w 5795867"/>
              <a:gd name="connsiteY35" fmla="*/ 1120825 h 4798903"/>
              <a:gd name="connsiteX36" fmla="*/ 4331685 w 5795867"/>
              <a:gd name="connsiteY36" fmla="*/ 1152733 h 4798903"/>
              <a:gd name="connsiteX37" fmla="*/ 4346067 w 5795867"/>
              <a:gd name="connsiteY37" fmla="*/ 1184642 h 4798903"/>
              <a:gd name="connsiteX38" fmla="*/ 4346067 w 5795867"/>
              <a:gd name="connsiteY38" fmla="*/ 1184833 h 4798903"/>
              <a:gd name="connsiteX39" fmla="*/ 4377214 w 5795867"/>
              <a:gd name="connsiteY39" fmla="*/ 1254175 h 4798903"/>
              <a:gd name="connsiteX40" fmla="*/ 4405694 w 5795867"/>
              <a:gd name="connsiteY40" fmla="*/ 1324564 h 4798903"/>
              <a:gd name="connsiteX41" fmla="*/ 4431316 w 5795867"/>
              <a:gd name="connsiteY41" fmla="*/ 1395907 h 4798903"/>
              <a:gd name="connsiteX42" fmla="*/ 4443222 w 5795867"/>
              <a:gd name="connsiteY42" fmla="*/ 1431911 h 4798903"/>
              <a:gd name="connsiteX43" fmla="*/ 4453795 w 5795867"/>
              <a:gd name="connsiteY43" fmla="*/ 1468297 h 4798903"/>
              <a:gd name="connsiteX44" fmla="*/ 4487418 w 5795867"/>
              <a:gd name="connsiteY44" fmla="*/ 1615553 h 4798903"/>
              <a:gd name="connsiteX45" fmla="*/ 4497134 w 5795867"/>
              <a:gd name="connsiteY45" fmla="*/ 1690229 h 4798903"/>
              <a:gd name="connsiteX46" fmla="*/ 4500182 w 5795867"/>
              <a:gd name="connsiteY46" fmla="*/ 1727758 h 4798903"/>
              <a:gd name="connsiteX47" fmla="*/ 4501991 w 5795867"/>
              <a:gd name="connsiteY47" fmla="*/ 1765286 h 4798903"/>
              <a:gd name="connsiteX48" fmla="*/ 4475703 w 5795867"/>
              <a:gd name="connsiteY48" fmla="*/ 1992934 h 4798903"/>
              <a:gd name="connsiteX49" fmla="*/ 4436555 w 5795867"/>
              <a:gd name="connsiteY49" fmla="*/ 2100376 h 4798903"/>
              <a:gd name="connsiteX50" fmla="*/ 4410552 w 5795867"/>
              <a:gd name="connsiteY50" fmla="*/ 2151335 h 4798903"/>
              <a:gd name="connsiteX51" fmla="*/ 4395693 w 5795867"/>
              <a:gd name="connsiteY51" fmla="*/ 2175814 h 4798903"/>
              <a:gd name="connsiteX52" fmla="*/ 4380071 w 5795867"/>
              <a:gd name="connsiteY52" fmla="*/ 2199817 h 4798903"/>
              <a:gd name="connsiteX53" fmla="*/ 4363403 w 5795867"/>
              <a:gd name="connsiteY53" fmla="*/ 2223058 h 4798903"/>
              <a:gd name="connsiteX54" fmla="*/ 4345591 w 5795867"/>
              <a:gd name="connsiteY54" fmla="*/ 2245441 h 4798903"/>
              <a:gd name="connsiteX55" fmla="*/ 4307681 w 5795867"/>
              <a:gd name="connsiteY55" fmla="*/ 2288494 h 4798903"/>
              <a:gd name="connsiteX56" fmla="*/ 4222242 w 5795867"/>
              <a:gd name="connsiteY56" fmla="*/ 2365266 h 4798903"/>
              <a:gd name="connsiteX57" fmla="*/ 4127278 w 5795867"/>
              <a:gd name="connsiteY57" fmla="*/ 2430512 h 4798903"/>
              <a:gd name="connsiteX58" fmla="*/ 4076891 w 5795867"/>
              <a:gd name="connsiteY58" fmla="*/ 2458802 h 4798903"/>
              <a:gd name="connsiteX59" fmla="*/ 4024979 w 5795867"/>
              <a:gd name="connsiteY59" fmla="*/ 2484424 h 4798903"/>
              <a:gd name="connsiteX60" fmla="*/ 3998595 w 5795867"/>
              <a:gd name="connsiteY60" fmla="*/ 2496520 h 4798903"/>
              <a:gd name="connsiteX61" fmla="*/ 3971830 w 5795867"/>
              <a:gd name="connsiteY61" fmla="*/ 2507665 h 4798903"/>
              <a:gd name="connsiteX62" fmla="*/ 3944969 w 5795867"/>
              <a:gd name="connsiteY62" fmla="*/ 2518619 h 4798903"/>
              <a:gd name="connsiteX63" fmla="*/ 3917728 w 5795867"/>
              <a:gd name="connsiteY63" fmla="*/ 2528620 h 4798903"/>
              <a:gd name="connsiteX64" fmla="*/ 3807047 w 5795867"/>
              <a:gd name="connsiteY64" fmla="*/ 2564148 h 4798903"/>
              <a:gd name="connsiteX65" fmla="*/ 3693986 w 5795867"/>
              <a:gd name="connsiteY65" fmla="*/ 2592056 h 4798903"/>
              <a:gd name="connsiteX66" fmla="*/ 3579305 w 5795867"/>
              <a:gd name="connsiteY66" fmla="*/ 2613202 h 4798903"/>
              <a:gd name="connsiteX67" fmla="*/ 3463576 w 5795867"/>
              <a:gd name="connsiteY67" fmla="*/ 2628346 h 4798903"/>
              <a:gd name="connsiteX68" fmla="*/ 3405378 w 5795867"/>
              <a:gd name="connsiteY68" fmla="*/ 2633871 h 4798903"/>
              <a:gd name="connsiteX69" fmla="*/ 3347085 w 5795867"/>
              <a:gd name="connsiteY69" fmla="*/ 2638157 h 4798903"/>
              <a:gd name="connsiteX70" fmla="*/ 3288697 w 5795867"/>
              <a:gd name="connsiteY70" fmla="*/ 2641301 h 4798903"/>
              <a:gd name="connsiteX71" fmla="*/ 3230213 w 5795867"/>
              <a:gd name="connsiteY71" fmla="*/ 2643301 h 4798903"/>
              <a:gd name="connsiteX72" fmla="*/ 3171730 w 5795867"/>
              <a:gd name="connsiteY72" fmla="*/ 2644253 h 4798903"/>
              <a:gd name="connsiteX73" fmla="*/ 3113246 w 5795867"/>
              <a:gd name="connsiteY73" fmla="*/ 2644253 h 4798903"/>
              <a:gd name="connsiteX74" fmla="*/ 2939320 w 5795867"/>
              <a:gd name="connsiteY74" fmla="*/ 2638252 h 4798903"/>
              <a:gd name="connsiteX75" fmla="*/ 2852452 w 5795867"/>
              <a:gd name="connsiteY75" fmla="*/ 2632442 h 4798903"/>
              <a:gd name="connsiteX76" fmla="*/ 2765679 w 5795867"/>
              <a:gd name="connsiteY76" fmla="*/ 2624822 h 4798903"/>
              <a:gd name="connsiteX77" fmla="*/ 2679097 w 5795867"/>
              <a:gd name="connsiteY77" fmla="*/ 2615488 h 4798903"/>
              <a:gd name="connsiteX78" fmla="*/ 2592705 w 5795867"/>
              <a:gd name="connsiteY78" fmla="*/ 2604344 h 4798903"/>
              <a:gd name="connsiteX79" fmla="*/ 2506504 w 5795867"/>
              <a:gd name="connsiteY79" fmla="*/ 2591675 h 4798903"/>
              <a:gd name="connsiteX80" fmla="*/ 2420493 w 5795867"/>
              <a:gd name="connsiteY80" fmla="*/ 2577578 h 4798903"/>
              <a:gd name="connsiteX81" fmla="*/ 2334768 w 5795867"/>
              <a:gd name="connsiteY81" fmla="*/ 2562052 h 4798903"/>
              <a:gd name="connsiteX82" fmla="*/ 2292001 w 5795867"/>
              <a:gd name="connsiteY82" fmla="*/ 2553861 h 4798903"/>
              <a:gd name="connsiteX83" fmla="*/ 2249329 w 5795867"/>
              <a:gd name="connsiteY83" fmla="*/ 2545098 h 4798903"/>
              <a:gd name="connsiteX84" fmla="*/ 2164080 w 5795867"/>
              <a:gd name="connsiteY84" fmla="*/ 2526810 h 4798903"/>
              <a:gd name="connsiteX85" fmla="*/ 2079117 w 5795867"/>
              <a:gd name="connsiteY85" fmla="*/ 2507188 h 4798903"/>
              <a:gd name="connsiteX86" fmla="*/ 1994440 w 5795867"/>
              <a:gd name="connsiteY86" fmla="*/ 2486329 h 4798903"/>
              <a:gd name="connsiteX87" fmla="*/ 1910144 w 5795867"/>
              <a:gd name="connsiteY87" fmla="*/ 2464231 h 4798903"/>
              <a:gd name="connsiteX88" fmla="*/ 1826133 w 5795867"/>
              <a:gd name="connsiteY88" fmla="*/ 2440894 h 4798903"/>
              <a:gd name="connsiteX89" fmla="*/ 1742408 w 5795867"/>
              <a:gd name="connsiteY89" fmla="*/ 2416415 h 4798903"/>
              <a:gd name="connsiteX90" fmla="*/ 1715738 w 5795867"/>
              <a:gd name="connsiteY90" fmla="*/ 2408510 h 4798903"/>
              <a:gd name="connsiteX91" fmla="*/ 1715453 w 5795867"/>
              <a:gd name="connsiteY91" fmla="*/ 2408510 h 4798903"/>
              <a:gd name="connsiteX92" fmla="*/ 1715357 w 5795867"/>
              <a:gd name="connsiteY92" fmla="*/ 2408510 h 4798903"/>
              <a:gd name="connsiteX93" fmla="*/ 1588961 w 5795867"/>
              <a:gd name="connsiteY93" fmla="*/ 2489758 h 4798903"/>
              <a:gd name="connsiteX94" fmla="*/ 1530287 w 5795867"/>
              <a:gd name="connsiteY94" fmla="*/ 2529763 h 4798903"/>
              <a:gd name="connsiteX95" fmla="*/ 1472184 w 5795867"/>
              <a:gd name="connsiteY95" fmla="*/ 2570435 h 4798903"/>
              <a:gd name="connsiteX96" fmla="*/ 1443133 w 5795867"/>
              <a:gd name="connsiteY96" fmla="*/ 2590818 h 4798903"/>
              <a:gd name="connsiteX97" fmla="*/ 1414748 w 5795867"/>
              <a:gd name="connsiteY97" fmla="*/ 2612154 h 4798903"/>
              <a:gd name="connsiteX98" fmla="*/ 1358265 w 5795867"/>
              <a:gd name="connsiteY98" fmla="*/ 2655112 h 4798903"/>
              <a:gd name="connsiteX99" fmla="*/ 1329976 w 5795867"/>
              <a:gd name="connsiteY99" fmla="*/ 2676638 h 4798903"/>
              <a:gd name="connsiteX100" fmla="*/ 1315879 w 5795867"/>
              <a:gd name="connsiteY100" fmla="*/ 2687402 h 4798903"/>
              <a:gd name="connsiteX101" fmla="*/ 1302163 w 5795867"/>
              <a:gd name="connsiteY101" fmla="*/ 2698641 h 4798903"/>
              <a:gd name="connsiteX102" fmla="*/ 1247394 w 5795867"/>
              <a:gd name="connsiteY102" fmla="*/ 2743789 h 4798903"/>
              <a:gd name="connsiteX103" fmla="*/ 838771 w 5795867"/>
              <a:gd name="connsiteY103" fmla="*/ 3137553 h 4798903"/>
              <a:gd name="connsiteX104" fmla="*/ 494157 w 5795867"/>
              <a:gd name="connsiteY104" fmla="*/ 3588371 h 4798903"/>
              <a:gd name="connsiteX105" fmla="*/ 223171 w 5795867"/>
              <a:gd name="connsiteY105" fmla="*/ 4087005 h 4798903"/>
              <a:gd name="connsiteX106" fmla="*/ 204311 w 5795867"/>
              <a:gd name="connsiteY106" fmla="*/ 4129391 h 4798903"/>
              <a:gd name="connsiteX107" fmla="*/ 151924 w 5795867"/>
              <a:gd name="connsiteY107" fmla="*/ 4258264 h 4798903"/>
              <a:gd name="connsiteX108" fmla="*/ 115729 w 5795867"/>
              <a:gd name="connsiteY108" fmla="*/ 4356086 h 4798903"/>
              <a:gd name="connsiteX109" fmla="*/ 76010 w 5795867"/>
              <a:gd name="connsiteY109" fmla="*/ 4477339 h 4798903"/>
              <a:gd name="connsiteX110" fmla="*/ 35528 w 5795867"/>
              <a:gd name="connsiteY110" fmla="*/ 4622596 h 4798903"/>
              <a:gd name="connsiteX111" fmla="*/ 0 w 5795867"/>
              <a:gd name="connsiteY111" fmla="*/ 4793951 h 4798903"/>
              <a:gd name="connsiteX112" fmla="*/ 9430 w 5795867"/>
              <a:gd name="connsiteY112" fmla="*/ 4795189 h 4798903"/>
              <a:gd name="connsiteX113" fmla="*/ 18860 w 5795867"/>
              <a:gd name="connsiteY113" fmla="*/ 4796427 h 4798903"/>
              <a:gd name="connsiteX114" fmla="*/ 28289 w 5795867"/>
              <a:gd name="connsiteY114" fmla="*/ 4797665 h 4798903"/>
              <a:gd name="connsiteX115" fmla="*/ 37719 w 5795867"/>
              <a:gd name="connsiteY115" fmla="*/ 4798904 h 4798903"/>
              <a:gd name="connsiteX116" fmla="*/ 72485 w 5795867"/>
              <a:gd name="connsiteY116" fmla="*/ 4631740 h 4798903"/>
              <a:gd name="connsiteX117" fmla="*/ 112490 w 5795867"/>
              <a:gd name="connsiteY117" fmla="*/ 4488389 h 4798903"/>
              <a:gd name="connsiteX118" fmla="*/ 151733 w 5795867"/>
              <a:gd name="connsiteY118" fmla="*/ 4368564 h 4798903"/>
              <a:gd name="connsiteX119" fmla="*/ 187452 w 5795867"/>
              <a:gd name="connsiteY119" fmla="*/ 4271790 h 4798903"/>
              <a:gd name="connsiteX120" fmla="*/ 239268 w 5795867"/>
              <a:gd name="connsiteY120" fmla="*/ 4144345 h 4798903"/>
              <a:gd name="connsiteX121" fmla="*/ 257937 w 5795867"/>
              <a:gd name="connsiteY121" fmla="*/ 4102435 h 4798903"/>
              <a:gd name="connsiteX122" fmla="*/ 526066 w 5795867"/>
              <a:gd name="connsiteY122" fmla="*/ 3608945 h 4798903"/>
              <a:gd name="connsiteX123" fmla="*/ 867156 w 5795867"/>
              <a:gd name="connsiteY123" fmla="*/ 3162699 h 4798903"/>
              <a:gd name="connsiteX124" fmla="*/ 1271683 w 5795867"/>
              <a:gd name="connsiteY124" fmla="*/ 2772936 h 4798903"/>
              <a:gd name="connsiteX125" fmla="*/ 1325975 w 5795867"/>
              <a:gd name="connsiteY125" fmla="*/ 2728264 h 4798903"/>
              <a:gd name="connsiteX126" fmla="*/ 1339501 w 5795867"/>
              <a:gd name="connsiteY126" fmla="*/ 2717119 h 4798903"/>
              <a:gd name="connsiteX127" fmla="*/ 1353503 w 5795867"/>
              <a:gd name="connsiteY127" fmla="*/ 2706452 h 4798903"/>
              <a:gd name="connsiteX128" fmla="*/ 1381506 w 5795867"/>
              <a:gd name="connsiteY128" fmla="*/ 2685211 h 4798903"/>
              <a:gd name="connsiteX129" fmla="*/ 1437418 w 5795867"/>
              <a:gd name="connsiteY129" fmla="*/ 2642634 h 4798903"/>
              <a:gd name="connsiteX130" fmla="*/ 1465517 w 5795867"/>
              <a:gd name="connsiteY130" fmla="*/ 2621488 h 4798903"/>
              <a:gd name="connsiteX131" fmla="*/ 1494282 w 5795867"/>
              <a:gd name="connsiteY131" fmla="*/ 2601295 h 4798903"/>
              <a:gd name="connsiteX132" fmla="*/ 1551908 w 5795867"/>
              <a:gd name="connsiteY132" fmla="*/ 2561005 h 4798903"/>
              <a:gd name="connsiteX133" fmla="*/ 1610011 w 5795867"/>
              <a:gd name="connsiteY133" fmla="*/ 2521381 h 4798903"/>
              <a:gd name="connsiteX134" fmla="*/ 1721358 w 5795867"/>
              <a:gd name="connsiteY134" fmla="*/ 2449848 h 4798903"/>
              <a:gd name="connsiteX135" fmla="*/ 1721358 w 5795867"/>
              <a:gd name="connsiteY135" fmla="*/ 2449848 h 4798903"/>
              <a:gd name="connsiteX136" fmla="*/ 1721358 w 5795867"/>
              <a:gd name="connsiteY136" fmla="*/ 2449848 h 4798903"/>
              <a:gd name="connsiteX137" fmla="*/ 1722311 w 5795867"/>
              <a:gd name="connsiteY137" fmla="*/ 2450134 h 4798903"/>
              <a:gd name="connsiteX138" fmla="*/ 1731550 w 5795867"/>
              <a:gd name="connsiteY138" fmla="*/ 2452896 h 4798903"/>
              <a:gd name="connsiteX139" fmla="*/ 1815751 w 5795867"/>
              <a:gd name="connsiteY139" fmla="*/ 2477470 h 4798903"/>
              <a:gd name="connsiteX140" fmla="*/ 1900238 w 5795867"/>
              <a:gd name="connsiteY140" fmla="*/ 2500902 h 4798903"/>
              <a:gd name="connsiteX141" fmla="*/ 1985105 w 5795867"/>
              <a:gd name="connsiteY141" fmla="*/ 2523095 h 4798903"/>
              <a:gd name="connsiteX142" fmla="*/ 2070259 w 5795867"/>
              <a:gd name="connsiteY142" fmla="*/ 2544050 h 4798903"/>
              <a:gd name="connsiteX143" fmla="*/ 2155793 w 5795867"/>
              <a:gd name="connsiteY143" fmla="*/ 2563767 h 4798903"/>
              <a:gd name="connsiteX144" fmla="*/ 2241614 w 5795867"/>
              <a:gd name="connsiteY144" fmla="*/ 2582150 h 4798903"/>
              <a:gd name="connsiteX145" fmla="*/ 2284571 w 5795867"/>
              <a:gd name="connsiteY145" fmla="*/ 2591009 h 4798903"/>
              <a:gd name="connsiteX146" fmla="*/ 2327720 w 5795867"/>
              <a:gd name="connsiteY146" fmla="*/ 2599200 h 4798903"/>
              <a:gd name="connsiteX147" fmla="*/ 2414111 w 5795867"/>
              <a:gd name="connsiteY147" fmla="*/ 2614916 h 4798903"/>
              <a:gd name="connsiteX148" fmla="*/ 2500694 w 5795867"/>
              <a:gd name="connsiteY148" fmla="*/ 2629109 h 4798903"/>
              <a:gd name="connsiteX149" fmla="*/ 2587562 w 5795867"/>
              <a:gd name="connsiteY149" fmla="*/ 2641872 h 4798903"/>
              <a:gd name="connsiteX150" fmla="*/ 2674620 w 5795867"/>
              <a:gd name="connsiteY150" fmla="*/ 2653016 h 4798903"/>
              <a:gd name="connsiteX151" fmla="*/ 2761964 w 5795867"/>
              <a:gd name="connsiteY151" fmla="*/ 2662446 h 4798903"/>
              <a:gd name="connsiteX152" fmla="*/ 2849499 w 5795867"/>
              <a:gd name="connsiteY152" fmla="*/ 2670161 h 4798903"/>
              <a:gd name="connsiteX153" fmla="*/ 2937129 w 5795867"/>
              <a:gd name="connsiteY153" fmla="*/ 2676067 h 4798903"/>
              <a:gd name="connsiteX154" fmla="*/ 3112770 w 5795867"/>
              <a:gd name="connsiteY154" fmla="*/ 2682163 h 4798903"/>
              <a:gd name="connsiteX155" fmla="*/ 3171920 w 5795867"/>
              <a:gd name="connsiteY155" fmla="*/ 2682163 h 4798903"/>
              <a:gd name="connsiteX156" fmla="*/ 3231071 w 5795867"/>
              <a:gd name="connsiteY156" fmla="*/ 2681115 h 4798903"/>
              <a:gd name="connsiteX157" fmla="*/ 3290221 w 5795867"/>
              <a:gd name="connsiteY157" fmla="*/ 2679019 h 4798903"/>
              <a:gd name="connsiteX158" fmla="*/ 3349371 w 5795867"/>
              <a:gd name="connsiteY158" fmla="*/ 2675781 h 4798903"/>
              <a:gd name="connsiteX159" fmla="*/ 3408426 w 5795867"/>
              <a:gd name="connsiteY159" fmla="*/ 2671400 h 4798903"/>
              <a:gd name="connsiteX160" fmla="*/ 3467386 w 5795867"/>
              <a:gd name="connsiteY160" fmla="*/ 2665780 h 4798903"/>
              <a:gd name="connsiteX161" fmla="*/ 3585020 w 5795867"/>
              <a:gd name="connsiteY161" fmla="*/ 2650349 h 4798903"/>
              <a:gd name="connsiteX162" fmla="*/ 3701796 w 5795867"/>
              <a:gd name="connsiteY162" fmla="*/ 2628823 h 4798903"/>
              <a:gd name="connsiteX163" fmla="*/ 3817239 w 5795867"/>
              <a:gd name="connsiteY163" fmla="*/ 2600343 h 4798903"/>
              <a:gd name="connsiteX164" fmla="*/ 3930587 w 5795867"/>
              <a:gd name="connsiteY164" fmla="*/ 2563958 h 4798903"/>
              <a:gd name="connsiteX165" fmla="*/ 3958590 w 5795867"/>
              <a:gd name="connsiteY165" fmla="*/ 2553670 h 4798903"/>
              <a:gd name="connsiteX166" fmla="*/ 3986213 w 5795867"/>
              <a:gd name="connsiteY166" fmla="*/ 2542431 h 4798903"/>
              <a:gd name="connsiteX167" fmla="*/ 4013740 w 5795867"/>
              <a:gd name="connsiteY167" fmla="*/ 2530906 h 4798903"/>
              <a:gd name="connsiteX168" fmla="*/ 4040886 w 5795867"/>
              <a:gd name="connsiteY168" fmla="*/ 2518523 h 4798903"/>
              <a:gd name="connsiteX169" fmla="*/ 4094512 w 5795867"/>
              <a:gd name="connsiteY169" fmla="*/ 2492044 h 4798903"/>
              <a:gd name="connsiteX170" fmla="*/ 4146709 w 5795867"/>
              <a:gd name="connsiteY170" fmla="*/ 2462802 h 4798903"/>
              <a:gd name="connsiteX171" fmla="*/ 4245579 w 5795867"/>
              <a:gd name="connsiteY171" fmla="*/ 2394889 h 4798903"/>
              <a:gd name="connsiteX172" fmla="*/ 4335018 w 5795867"/>
              <a:gd name="connsiteY172" fmla="*/ 2314498 h 4798903"/>
              <a:gd name="connsiteX173" fmla="*/ 4374928 w 5795867"/>
              <a:gd name="connsiteY173" fmla="*/ 2269254 h 4798903"/>
              <a:gd name="connsiteX174" fmla="*/ 4393692 w 5795867"/>
              <a:gd name="connsiteY174" fmla="*/ 2245632 h 4798903"/>
              <a:gd name="connsiteX175" fmla="*/ 4411313 w 5795867"/>
              <a:gd name="connsiteY175" fmla="*/ 2221057 h 4798903"/>
              <a:gd name="connsiteX176" fmla="*/ 4427792 w 5795867"/>
              <a:gd name="connsiteY176" fmla="*/ 2195721 h 4798903"/>
              <a:gd name="connsiteX177" fmla="*/ 4443508 w 5795867"/>
              <a:gd name="connsiteY177" fmla="*/ 2169908 h 4798903"/>
              <a:gd name="connsiteX178" fmla="*/ 4471035 w 5795867"/>
              <a:gd name="connsiteY178" fmla="*/ 2116092 h 4798903"/>
              <a:gd name="connsiteX179" fmla="*/ 4512374 w 5795867"/>
              <a:gd name="connsiteY179" fmla="*/ 2002649 h 4798903"/>
              <a:gd name="connsiteX180" fmla="*/ 4539996 w 5795867"/>
              <a:gd name="connsiteY180" fmla="*/ 1764238 h 4798903"/>
              <a:gd name="connsiteX181" fmla="*/ 4538091 w 5795867"/>
              <a:gd name="connsiteY181" fmla="*/ 1725186 h 4798903"/>
              <a:gd name="connsiteX182" fmla="*/ 4534948 w 5795867"/>
              <a:gd name="connsiteY182" fmla="*/ 1686324 h 4798903"/>
              <a:gd name="connsiteX183" fmla="*/ 4524852 w 5795867"/>
              <a:gd name="connsiteY183" fmla="*/ 1609076 h 4798903"/>
              <a:gd name="connsiteX184" fmla="*/ 4490276 w 5795867"/>
              <a:gd name="connsiteY184" fmla="*/ 1457629 h 4798903"/>
              <a:gd name="connsiteX185" fmla="*/ 4479417 w 5795867"/>
              <a:gd name="connsiteY185" fmla="*/ 1420386 h 4798903"/>
              <a:gd name="connsiteX186" fmla="*/ 4467225 w 5795867"/>
              <a:gd name="connsiteY186" fmla="*/ 1383619 h 4798903"/>
              <a:gd name="connsiteX187" fmla="*/ 4441031 w 5795867"/>
              <a:gd name="connsiteY187" fmla="*/ 1310753 h 4798903"/>
              <a:gd name="connsiteX188" fmla="*/ 4411980 w 5795867"/>
              <a:gd name="connsiteY188" fmla="*/ 1239030 h 4798903"/>
              <a:gd name="connsiteX189" fmla="*/ 4380357 w 5795867"/>
              <a:gd name="connsiteY189" fmla="*/ 1168450 h 4798903"/>
              <a:gd name="connsiteX190" fmla="*/ 4380357 w 5795867"/>
              <a:gd name="connsiteY190" fmla="*/ 1168259 h 4798903"/>
              <a:gd name="connsiteX191" fmla="*/ 4366165 w 5795867"/>
              <a:gd name="connsiteY191" fmla="*/ 1136827 h 4798903"/>
              <a:gd name="connsiteX192" fmla="*/ 4352068 w 5795867"/>
              <a:gd name="connsiteY192" fmla="*/ 1105394 h 4798903"/>
              <a:gd name="connsiteX193" fmla="*/ 4325874 w 5795867"/>
              <a:gd name="connsiteY193" fmla="*/ 1041767 h 4798903"/>
              <a:gd name="connsiteX194" fmla="*/ 4302157 w 5795867"/>
              <a:gd name="connsiteY194" fmla="*/ 977378 h 4798903"/>
              <a:gd name="connsiteX195" fmla="*/ 4281202 w 5795867"/>
              <a:gd name="connsiteY195" fmla="*/ 912132 h 4798903"/>
              <a:gd name="connsiteX196" fmla="*/ 4263581 w 5795867"/>
              <a:gd name="connsiteY196" fmla="*/ 846028 h 4798903"/>
              <a:gd name="connsiteX197" fmla="*/ 4256437 w 5795867"/>
              <a:gd name="connsiteY197" fmla="*/ 812691 h 4798903"/>
              <a:gd name="connsiteX198" fmla="*/ 4252818 w 5795867"/>
              <a:gd name="connsiteY198" fmla="*/ 796022 h 4798903"/>
              <a:gd name="connsiteX199" fmla="*/ 4250055 w 5795867"/>
              <a:gd name="connsiteY199" fmla="*/ 779258 h 4798903"/>
              <a:gd name="connsiteX200" fmla="*/ 4244626 w 5795867"/>
              <a:gd name="connsiteY200" fmla="*/ 745635 h 4798903"/>
              <a:gd name="connsiteX201" fmla="*/ 4241006 w 5795867"/>
              <a:gd name="connsiteY201" fmla="*/ 711821 h 4798903"/>
              <a:gd name="connsiteX202" fmla="*/ 4237006 w 5795867"/>
              <a:gd name="connsiteY202" fmla="*/ 644194 h 4798903"/>
              <a:gd name="connsiteX203" fmla="*/ 4237673 w 5795867"/>
              <a:gd name="connsiteY203" fmla="*/ 616190 h 4798903"/>
              <a:gd name="connsiteX204" fmla="*/ 4239102 w 5795867"/>
              <a:gd name="connsiteY204" fmla="*/ 588282 h 4798903"/>
              <a:gd name="connsiteX205" fmla="*/ 4241769 w 5795867"/>
              <a:gd name="connsiteY205" fmla="*/ 560469 h 4798903"/>
              <a:gd name="connsiteX206" fmla="*/ 4246055 w 5795867"/>
              <a:gd name="connsiteY206" fmla="*/ 532942 h 4798903"/>
              <a:gd name="connsiteX207" fmla="*/ 4258056 w 5795867"/>
              <a:gd name="connsiteY207" fmla="*/ 478649 h 4798903"/>
              <a:gd name="connsiteX208" fmla="*/ 4266629 w 5795867"/>
              <a:gd name="connsiteY208" fmla="*/ 452265 h 4798903"/>
              <a:gd name="connsiteX209" fmla="*/ 4271105 w 5795867"/>
              <a:gd name="connsiteY209" fmla="*/ 439120 h 4798903"/>
              <a:gd name="connsiteX210" fmla="*/ 4276535 w 5795867"/>
              <a:gd name="connsiteY210" fmla="*/ 426357 h 4798903"/>
              <a:gd name="connsiteX211" fmla="*/ 4330732 w 5795867"/>
              <a:gd name="connsiteY211" fmla="*/ 330154 h 4798903"/>
              <a:gd name="connsiteX212" fmla="*/ 4365879 w 5795867"/>
              <a:gd name="connsiteY212" fmla="*/ 287292 h 4798903"/>
              <a:gd name="connsiteX213" fmla="*/ 4406170 w 5795867"/>
              <a:gd name="connsiteY213" fmla="*/ 249001 h 4798903"/>
              <a:gd name="connsiteX214" fmla="*/ 4449985 w 5795867"/>
              <a:gd name="connsiteY214" fmla="*/ 214521 h 4798903"/>
              <a:gd name="connsiteX215" fmla="*/ 4497229 w 5795867"/>
              <a:gd name="connsiteY215" fmla="*/ 184422 h 4798903"/>
              <a:gd name="connsiteX216" fmla="*/ 4546759 w 5795867"/>
              <a:gd name="connsiteY216" fmla="*/ 157847 h 4798903"/>
              <a:gd name="connsiteX217" fmla="*/ 4598385 w 5795867"/>
              <a:gd name="connsiteY217" fmla="*/ 135082 h 4798903"/>
              <a:gd name="connsiteX218" fmla="*/ 4816031 w 5795867"/>
              <a:gd name="connsiteY218" fmla="*/ 72122 h 4798903"/>
              <a:gd name="connsiteX219" fmla="*/ 5152644 w 5795867"/>
              <a:gd name="connsiteY219" fmla="*/ 38308 h 4798903"/>
              <a:gd name="connsiteX220" fmla="*/ 5192554 w 5795867"/>
              <a:gd name="connsiteY220" fmla="*/ 37642 h 4798903"/>
              <a:gd name="connsiteX221" fmla="*/ 5312283 w 5795867"/>
              <a:gd name="connsiteY221" fmla="*/ 38975 h 4798903"/>
              <a:gd name="connsiteX222" fmla="*/ 5511641 w 5795867"/>
              <a:gd name="connsiteY222" fmla="*/ 51167 h 4798903"/>
              <a:gd name="connsiteX223" fmla="*/ 5788533 w 5795867"/>
              <a:gd name="connsiteY223" fmla="*/ 87362 h 47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5795867" h="4798903">
                <a:moveTo>
                  <a:pt x="5788629" y="87743"/>
                </a:moveTo>
                <a:lnTo>
                  <a:pt x="5790438" y="78409"/>
                </a:lnTo>
                <a:lnTo>
                  <a:pt x="5792248" y="69074"/>
                </a:lnTo>
                <a:lnTo>
                  <a:pt x="5794058" y="59740"/>
                </a:lnTo>
                <a:lnTo>
                  <a:pt x="5795868" y="50405"/>
                </a:lnTo>
                <a:cubicBezTo>
                  <a:pt x="5689092" y="31450"/>
                  <a:pt x="5595747" y="21163"/>
                  <a:pt x="5515261" y="13734"/>
                </a:cubicBezTo>
                <a:cubicBezTo>
                  <a:pt x="5434775" y="6590"/>
                  <a:pt x="5367528" y="3066"/>
                  <a:pt x="5313712" y="1447"/>
                </a:cubicBezTo>
                <a:cubicBezTo>
                  <a:pt x="5259896" y="-268"/>
                  <a:pt x="5219414" y="18"/>
                  <a:pt x="5192459" y="18"/>
                </a:cubicBezTo>
                <a:lnTo>
                  <a:pt x="5151977" y="685"/>
                </a:lnTo>
                <a:cubicBezTo>
                  <a:pt x="5037296" y="3542"/>
                  <a:pt x="4922330" y="13258"/>
                  <a:pt x="4808982" y="35165"/>
                </a:cubicBezTo>
                <a:cubicBezTo>
                  <a:pt x="4732687" y="50405"/>
                  <a:pt x="4656868" y="70408"/>
                  <a:pt x="4584287" y="100221"/>
                </a:cubicBezTo>
                <a:cubicBezTo>
                  <a:pt x="4565999" y="107269"/>
                  <a:pt x="4548283" y="115842"/>
                  <a:pt x="4530376" y="123938"/>
                </a:cubicBezTo>
                <a:cubicBezTo>
                  <a:pt x="4512945" y="133082"/>
                  <a:pt x="4495134" y="141464"/>
                  <a:pt x="4478370" y="151942"/>
                </a:cubicBezTo>
                <a:cubicBezTo>
                  <a:pt x="4461129" y="161562"/>
                  <a:pt x="4444841" y="172801"/>
                  <a:pt x="4428363" y="183755"/>
                </a:cubicBezTo>
                <a:cubicBezTo>
                  <a:pt x="4412552" y="195661"/>
                  <a:pt x="4396359" y="207091"/>
                  <a:pt x="4381596" y="220522"/>
                </a:cubicBezTo>
                <a:cubicBezTo>
                  <a:pt x="4366165" y="233095"/>
                  <a:pt x="4352449" y="247573"/>
                  <a:pt x="4338352" y="261670"/>
                </a:cubicBezTo>
                <a:cubicBezTo>
                  <a:pt x="4325303" y="276719"/>
                  <a:pt x="4311872" y="291483"/>
                  <a:pt x="4300347" y="307866"/>
                </a:cubicBezTo>
                <a:cubicBezTo>
                  <a:pt x="4276725" y="339965"/>
                  <a:pt x="4256437" y="374922"/>
                  <a:pt x="4241673" y="411974"/>
                </a:cubicBezTo>
                <a:lnTo>
                  <a:pt x="4235863" y="425785"/>
                </a:lnTo>
                <a:cubicBezTo>
                  <a:pt x="4234148" y="430453"/>
                  <a:pt x="4232624" y="435215"/>
                  <a:pt x="4231005" y="439978"/>
                </a:cubicBezTo>
                <a:cubicBezTo>
                  <a:pt x="4227957" y="449503"/>
                  <a:pt x="4224528" y="458837"/>
                  <a:pt x="4221766" y="468362"/>
                </a:cubicBezTo>
                <a:cubicBezTo>
                  <a:pt x="4217099" y="487698"/>
                  <a:pt x="4211479" y="506843"/>
                  <a:pt x="4208812" y="526560"/>
                </a:cubicBezTo>
                <a:cubicBezTo>
                  <a:pt x="4207288" y="536371"/>
                  <a:pt x="4205193" y="546086"/>
                  <a:pt x="4204240" y="555992"/>
                </a:cubicBezTo>
                <a:lnTo>
                  <a:pt x="4201478" y="585520"/>
                </a:lnTo>
                <a:cubicBezTo>
                  <a:pt x="4200239" y="595330"/>
                  <a:pt x="4200239" y="605236"/>
                  <a:pt x="4199954" y="615142"/>
                </a:cubicBezTo>
                <a:lnTo>
                  <a:pt x="4199192" y="644765"/>
                </a:lnTo>
                <a:cubicBezTo>
                  <a:pt x="4200430" y="668387"/>
                  <a:pt x="4200239" y="692295"/>
                  <a:pt x="4203287" y="715726"/>
                </a:cubicBezTo>
                <a:cubicBezTo>
                  <a:pt x="4204526" y="727442"/>
                  <a:pt x="4205478" y="739253"/>
                  <a:pt x="4207097" y="750969"/>
                </a:cubicBezTo>
                <a:lnTo>
                  <a:pt x="4212717" y="785926"/>
                </a:lnTo>
                <a:lnTo>
                  <a:pt x="4215575" y="803356"/>
                </a:lnTo>
                <a:lnTo>
                  <a:pt x="4219289" y="820597"/>
                </a:lnTo>
                <a:lnTo>
                  <a:pt x="4226719" y="855077"/>
                </a:lnTo>
                <a:cubicBezTo>
                  <a:pt x="4232339" y="877842"/>
                  <a:pt x="4238530" y="900511"/>
                  <a:pt x="4244816" y="923181"/>
                </a:cubicBezTo>
                <a:cubicBezTo>
                  <a:pt x="4252055" y="945469"/>
                  <a:pt x="4258628" y="968044"/>
                  <a:pt x="4266343" y="990142"/>
                </a:cubicBezTo>
                <a:cubicBezTo>
                  <a:pt x="4274439" y="1012049"/>
                  <a:pt x="4281964" y="1034242"/>
                  <a:pt x="4290632" y="1055959"/>
                </a:cubicBezTo>
                <a:cubicBezTo>
                  <a:pt x="4299585" y="1077581"/>
                  <a:pt x="4308062" y="1099393"/>
                  <a:pt x="4317302" y="1120825"/>
                </a:cubicBezTo>
                <a:lnTo>
                  <a:pt x="4331685" y="1152733"/>
                </a:lnTo>
                <a:lnTo>
                  <a:pt x="4346067" y="1184642"/>
                </a:lnTo>
                <a:lnTo>
                  <a:pt x="4346067" y="1184833"/>
                </a:lnTo>
                <a:cubicBezTo>
                  <a:pt x="4356545" y="1207978"/>
                  <a:pt x="4366832" y="1231029"/>
                  <a:pt x="4377214" y="1254175"/>
                </a:cubicBezTo>
                <a:cubicBezTo>
                  <a:pt x="4386644" y="1277606"/>
                  <a:pt x="4396836" y="1300847"/>
                  <a:pt x="4405694" y="1324564"/>
                </a:cubicBezTo>
                <a:cubicBezTo>
                  <a:pt x="4414266" y="1348377"/>
                  <a:pt x="4423887" y="1371808"/>
                  <a:pt x="4431316" y="1395907"/>
                </a:cubicBezTo>
                <a:lnTo>
                  <a:pt x="4443222" y="1431911"/>
                </a:lnTo>
                <a:cubicBezTo>
                  <a:pt x="4447032" y="1443913"/>
                  <a:pt x="4450271" y="1456105"/>
                  <a:pt x="4453795" y="1468297"/>
                </a:cubicBezTo>
                <a:cubicBezTo>
                  <a:pt x="4468082" y="1516779"/>
                  <a:pt x="4478751" y="1566023"/>
                  <a:pt x="4487418" y="1615553"/>
                </a:cubicBezTo>
                <a:cubicBezTo>
                  <a:pt x="4491133" y="1640413"/>
                  <a:pt x="4495229" y="1665274"/>
                  <a:pt x="4497134" y="1690229"/>
                </a:cubicBezTo>
                <a:cubicBezTo>
                  <a:pt x="4498372" y="1702707"/>
                  <a:pt x="4499896" y="1715185"/>
                  <a:pt x="4500182" y="1727758"/>
                </a:cubicBezTo>
                <a:lnTo>
                  <a:pt x="4501991" y="1765286"/>
                </a:lnTo>
                <a:cubicBezTo>
                  <a:pt x="4503420" y="1842153"/>
                  <a:pt x="4495324" y="1919020"/>
                  <a:pt x="4475703" y="1992934"/>
                </a:cubicBezTo>
                <a:cubicBezTo>
                  <a:pt x="4465130" y="2029605"/>
                  <a:pt x="4453033" y="2065990"/>
                  <a:pt x="4436555" y="2100376"/>
                </a:cubicBezTo>
                <a:cubicBezTo>
                  <a:pt x="4429030" y="2117902"/>
                  <a:pt x="4419505" y="2134475"/>
                  <a:pt x="4410552" y="2151335"/>
                </a:cubicBezTo>
                <a:cubicBezTo>
                  <a:pt x="4406170" y="2159812"/>
                  <a:pt x="4400646" y="2167622"/>
                  <a:pt x="4395693" y="2175814"/>
                </a:cubicBezTo>
                <a:cubicBezTo>
                  <a:pt x="4390549" y="2183815"/>
                  <a:pt x="4385882" y="2192197"/>
                  <a:pt x="4380071" y="2199817"/>
                </a:cubicBezTo>
                <a:lnTo>
                  <a:pt x="4363403" y="2223058"/>
                </a:lnTo>
                <a:cubicBezTo>
                  <a:pt x="4357878" y="2230868"/>
                  <a:pt x="4351496" y="2238012"/>
                  <a:pt x="4345591" y="2245441"/>
                </a:cubicBezTo>
                <a:cubicBezTo>
                  <a:pt x="4333971" y="2260586"/>
                  <a:pt x="4320540" y="2274302"/>
                  <a:pt x="4307681" y="2288494"/>
                </a:cubicBezTo>
                <a:cubicBezTo>
                  <a:pt x="4280916" y="2315831"/>
                  <a:pt x="4252818" y="2341930"/>
                  <a:pt x="4222242" y="2365266"/>
                </a:cubicBezTo>
                <a:cubicBezTo>
                  <a:pt x="4192334" y="2389364"/>
                  <a:pt x="4159949" y="2410224"/>
                  <a:pt x="4127278" y="2430512"/>
                </a:cubicBezTo>
                <a:cubicBezTo>
                  <a:pt x="4110514" y="2440037"/>
                  <a:pt x="4093940" y="2449848"/>
                  <a:pt x="4076891" y="2458802"/>
                </a:cubicBezTo>
                <a:cubicBezTo>
                  <a:pt x="4059651" y="2467374"/>
                  <a:pt x="4042696" y="2476709"/>
                  <a:pt x="4024979" y="2484424"/>
                </a:cubicBezTo>
                <a:lnTo>
                  <a:pt x="3998595" y="2496520"/>
                </a:lnTo>
                <a:cubicBezTo>
                  <a:pt x="3989832" y="2500521"/>
                  <a:pt x="3980784" y="2503950"/>
                  <a:pt x="3971830" y="2507665"/>
                </a:cubicBezTo>
                <a:lnTo>
                  <a:pt x="3944969" y="2518619"/>
                </a:lnTo>
                <a:lnTo>
                  <a:pt x="3917728" y="2528620"/>
                </a:lnTo>
                <a:cubicBezTo>
                  <a:pt x="3881438" y="2542050"/>
                  <a:pt x="3844385" y="2553575"/>
                  <a:pt x="3807047" y="2564148"/>
                </a:cubicBezTo>
                <a:cubicBezTo>
                  <a:pt x="3769709" y="2574721"/>
                  <a:pt x="3731990" y="2583865"/>
                  <a:pt x="3693986" y="2592056"/>
                </a:cubicBezTo>
                <a:cubicBezTo>
                  <a:pt x="3655981" y="2600152"/>
                  <a:pt x="3617690" y="2607106"/>
                  <a:pt x="3579305" y="2613202"/>
                </a:cubicBezTo>
                <a:cubicBezTo>
                  <a:pt x="3540824" y="2619107"/>
                  <a:pt x="3502247" y="2624251"/>
                  <a:pt x="3463576" y="2628346"/>
                </a:cubicBezTo>
                <a:cubicBezTo>
                  <a:pt x="3444240" y="2630728"/>
                  <a:pt x="3424809" y="2632156"/>
                  <a:pt x="3405378" y="2633871"/>
                </a:cubicBezTo>
                <a:cubicBezTo>
                  <a:pt x="3385947" y="2635776"/>
                  <a:pt x="3366516" y="2637014"/>
                  <a:pt x="3347085" y="2638157"/>
                </a:cubicBezTo>
                <a:cubicBezTo>
                  <a:pt x="3327654" y="2639491"/>
                  <a:pt x="3308223" y="2640634"/>
                  <a:pt x="3288697" y="2641301"/>
                </a:cubicBezTo>
                <a:cubicBezTo>
                  <a:pt x="3269171" y="2642062"/>
                  <a:pt x="3249740" y="2643110"/>
                  <a:pt x="3230213" y="2643301"/>
                </a:cubicBezTo>
                <a:cubicBezTo>
                  <a:pt x="3210687" y="2643586"/>
                  <a:pt x="3191256" y="2644349"/>
                  <a:pt x="3171730" y="2644253"/>
                </a:cubicBezTo>
                <a:lnTo>
                  <a:pt x="3113246" y="2644253"/>
                </a:lnTo>
                <a:cubicBezTo>
                  <a:pt x="3055239" y="2643301"/>
                  <a:pt x="2997232" y="2641777"/>
                  <a:pt x="2939320" y="2638252"/>
                </a:cubicBezTo>
                <a:cubicBezTo>
                  <a:pt x="2910364" y="2636824"/>
                  <a:pt x="2881408" y="2634728"/>
                  <a:pt x="2852452" y="2632442"/>
                </a:cubicBezTo>
                <a:cubicBezTo>
                  <a:pt x="2823496" y="2630537"/>
                  <a:pt x="2794635" y="2627394"/>
                  <a:pt x="2765679" y="2624822"/>
                </a:cubicBezTo>
                <a:cubicBezTo>
                  <a:pt x="2736818" y="2622060"/>
                  <a:pt x="2707958" y="2618631"/>
                  <a:pt x="2679097" y="2615488"/>
                </a:cubicBezTo>
                <a:cubicBezTo>
                  <a:pt x="2650331" y="2611773"/>
                  <a:pt x="2621471" y="2608344"/>
                  <a:pt x="2592705" y="2604344"/>
                </a:cubicBezTo>
                <a:cubicBezTo>
                  <a:pt x="2563940" y="2600057"/>
                  <a:pt x="2535174" y="2596438"/>
                  <a:pt x="2506504" y="2591675"/>
                </a:cubicBezTo>
                <a:cubicBezTo>
                  <a:pt x="2477834" y="2587103"/>
                  <a:pt x="2449068" y="2582722"/>
                  <a:pt x="2420493" y="2577578"/>
                </a:cubicBezTo>
                <a:cubicBezTo>
                  <a:pt x="2391918" y="2572625"/>
                  <a:pt x="2363248" y="2567672"/>
                  <a:pt x="2334768" y="2562052"/>
                </a:cubicBezTo>
                <a:lnTo>
                  <a:pt x="2292001" y="2553861"/>
                </a:lnTo>
                <a:lnTo>
                  <a:pt x="2249329" y="2545098"/>
                </a:lnTo>
                <a:cubicBezTo>
                  <a:pt x="2220849" y="2539383"/>
                  <a:pt x="2192465" y="2533192"/>
                  <a:pt x="2164080" y="2526810"/>
                </a:cubicBezTo>
                <a:cubicBezTo>
                  <a:pt x="2135696" y="2520714"/>
                  <a:pt x="2107406" y="2513951"/>
                  <a:pt x="2079117" y="2507188"/>
                </a:cubicBezTo>
                <a:cubicBezTo>
                  <a:pt x="2050828" y="2500711"/>
                  <a:pt x="2022634" y="2493377"/>
                  <a:pt x="1994440" y="2486329"/>
                </a:cubicBezTo>
                <a:cubicBezTo>
                  <a:pt x="1966246" y="2479471"/>
                  <a:pt x="1938242" y="2471660"/>
                  <a:pt x="1910144" y="2464231"/>
                </a:cubicBezTo>
                <a:cubicBezTo>
                  <a:pt x="1882045" y="2456992"/>
                  <a:pt x="1854137" y="2448705"/>
                  <a:pt x="1826133" y="2440894"/>
                </a:cubicBezTo>
                <a:cubicBezTo>
                  <a:pt x="1798130" y="2433179"/>
                  <a:pt x="1770317" y="2424511"/>
                  <a:pt x="1742408" y="2416415"/>
                </a:cubicBezTo>
                <a:lnTo>
                  <a:pt x="1715738" y="2408510"/>
                </a:lnTo>
                <a:lnTo>
                  <a:pt x="1715453" y="2408510"/>
                </a:lnTo>
                <a:cubicBezTo>
                  <a:pt x="1715453" y="2408510"/>
                  <a:pt x="1715357" y="2408510"/>
                  <a:pt x="1715357" y="2408510"/>
                </a:cubicBezTo>
                <a:lnTo>
                  <a:pt x="1588961" y="2489758"/>
                </a:lnTo>
                <a:cubicBezTo>
                  <a:pt x="1568863" y="2502235"/>
                  <a:pt x="1549813" y="2516333"/>
                  <a:pt x="1530287" y="2529763"/>
                </a:cubicBezTo>
                <a:lnTo>
                  <a:pt x="1472184" y="2570435"/>
                </a:lnTo>
                <a:lnTo>
                  <a:pt x="1443133" y="2590818"/>
                </a:lnTo>
                <a:cubicBezTo>
                  <a:pt x="1433513" y="2597676"/>
                  <a:pt x="1424273" y="2605105"/>
                  <a:pt x="1414748" y="2612154"/>
                </a:cubicBezTo>
                <a:lnTo>
                  <a:pt x="1358265" y="2655112"/>
                </a:lnTo>
                <a:lnTo>
                  <a:pt x="1329976" y="2676638"/>
                </a:lnTo>
                <a:lnTo>
                  <a:pt x="1315879" y="2687402"/>
                </a:lnTo>
                <a:lnTo>
                  <a:pt x="1302163" y="2698641"/>
                </a:lnTo>
                <a:lnTo>
                  <a:pt x="1247394" y="2743789"/>
                </a:lnTo>
                <a:cubicBezTo>
                  <a:pt x="1101757" y="2864662"/>
                  <a:pt x="964883" y="2996297"/>
                  <a:pt x="838771" y="3137553"/>
                </a:cubicBezTo>
                <a:cubicBezTo>
                  <a:pt x="712851" y="3278904"/>
                  <a:pt x="596932" y="3429304"/>
                  <a:pt x="494157" y="3588371"/>
                </a:cubicBezTo>
                <a:cubicBezTo>
                  <a:pt x="391763" y="3747629"/>
                  <a:pt x="299847" y="3913841"/>
                  <a:pt x="223171" y="4087005"/>
                </a:cubicBezTo>
                <a:lnTo>
                  <a:pt x="204311" y="4129391"/>
                </a:lnTo>
                <a:cubicBezTo>
                  <a:pt x="192596" y="4157966"/>
                  <a:pt x="173831" y="4200448"/>
                  <a:pt x="151924" y="4258264"/>
                </a:cubicBezTo>
                <a:cubicBezTo>
                  <a:pt x="140399" y="4286935"/>
                  <a:pt x="129064" y="4319796"/>
                  <a:pt x="115729" y="4356086"/>
                </a:cubicBezTo>
                <a:cubicBezTo>
                  <a:pt x="103251" y="4392662"/>
                  <a:pt x="89535" y="4432953"/>
                  <a:pt x="76010" y="4477339"/>
                </a:cubicBezTo>
                <a:cubicBezTo>
                  <a:pt x="62389" y="4521726"/>
                  <a:pt x="48673" y="4570018"/>
                  <a:pt x="35528" y="4622596"/>
                </a:cubicBezTo>
                <a:cubicBezTo>
                  <a:pt x="22479" y="4675364"/>
                  <a:pt x="9620" y="4731467"/>
                  <a:pt x="0" y="4793951"/>
                </a:cubicBezTo>
                <a:lnTo>
                  <a:pt x="9430" y="4795189"/>
                </a:lnTo>
                <a:lnTo>
                  <a:pt x="18860" y="4796427"/>
                </a:lnTo>
                <a:lnTo>
                  <a:pt x="28289" y="4797665"/>
                </a:lnTo>
                <a:lnTo>
                  <a:pt x="37719" y="4798904"/>
                </a:lnTo>
                <a:cubicBezTo>
                  <a:pt x="46863" y="4739849"/>
                  <a:pt x="59626" y="4683365"/>
                  <a:pt x="72485" y="4631740"/>
                </a:cubicBezTo>
                <a:cubicBezTo>
                  <a:pt x="85439" y="4579924"/>
                  <a:pt x="98965" y="4532204"/>
                  <a:pt x="112490" y="4488389"/>
                </a:cubicBezTo>
                <a:cubicBezTo>
                  <a:pt x="125825" y="4444574"/>
                  <a:pt x="139351" y="4404759"/>
                  <a:pt x="151733" y="4368564"/>
                </a:cubicBezTo>
                <a:cubicBezTo>
                  <a:pt x="164878" y="4332655"/>
                  <a:pt x="176022" y="4300175"/>
                  <a:pt x="187452" y="4271790"/>
                </a:cubicBezTo>
                <a:cubicBezTo>
                  <a:pt x="209074" y="4214640"/>
                  <a:pt x="227648" y="4172635"/>
                  <a:pt x="239268" y="4144345"/>
                </a:cubicBezTo>
                <a:lnTo>
                  <a:pt x="257937" y="4102435"/>
                </a:lnTo>
                <a:cubicBezTo>
                  <a:pt x="333756" y="3931081"/>
                  <a:pt x="424720" y="3766584"/>
                  <a:pt x="526066" y="3608945"/>
                </a:cubicBezTo>
                <a:cubicBezTo>
                  <a:pt x="627793" y="3451497"/>
                  <a:pt x="742474" y="3302621"/>
                  <a:pt x="867156" y="3162699"/>
                </a:cubicBezTo>
                <a:cubicBezTo>
                  <a:pt x="991934" y="3022872"/>
                  <a:pt x="1127379" y="2892570"/>
                  <a:pt x="1271683" y="2772936"/>
                </a:cubicBezTo>
                <a:lnTo>
                  <a:pt x="1325975" y="2728264"/>
                </a:lnTo>
                <a:lnTo>
                  <a:pt x="1339501" y="2717119"/>
                </a:lnTo>
                <a:lnTo>
                  <a:pt x="1353503" y="2706452"/>
                </a:lnTo>
                <a:lnTo>
                  <a:pt x="1381506" y="2685211"/>
                </a:lnTo>
                <a:lnTo>
                  <a:pt x="1437418" y="2642634"/>
                </a:lnTo>
                <a:cubicBezTo>
                  <a:pt x="1446752" y="2635585"/>
                  <a:pt x="1455992" y="2628346"/>
                  <a:pt x="1465517" y="2621488"/>
                </a:cubicBezTo>
                <a:lnTo>
                  <a:pt x="1494282" y="2601295"/>
                </a:lnTo>
                <a:lnTo>
                  <a:pt x="1551908" y="2561005"/>
                </a:lnTo>
                <a:cubicBezTo>
                  <a:pt x="1571149" y="2547670"/>
                  <a:pt x="1590008" y="2533668"/>
                  <a:pt x="1610011" y="2521381"/>
                </a:cubicBezTo>
                <a:lnTo>
                  <a:pt x="1721358" y="2449848"/>
                </a:lnTo>
                <a:lnTo>
                  <a:pt x="1721358" y="2449848"/>
                </a:lnTo>
                <a:cubicBezTo>
                  <a:pt x="1721358" y="2449848"/>
                  <a:pt x="1721358" y="2449848"/>
                  <a:pt x="1721358" y="2449848"/>
                </a:cubicBezTo>
                <a:cubicBezTo>
                  <a:pt x="1721358" y="2449848"/>
                  <a:pt x="1721168" y="2449848"/>
                  <a:pt x="1722311" y="2450134"/>
                </a:cubicBezTo>
                <a:lnTo>
                  <a:pt x="1731550" y="2452896"/>
                </a:lnTo>
                <a:cubicBezTo>
                  <a:pt x="1759649" y="2461087"/>
                  <a:pt x="1787557" y="2469755"/>
                  <a:pt x="1815751" y="2477470"/>
                </a:cubicBezTo>
                <a:cubicBezTo>
                  <a:pt x="1843945" y="2485281"/>
                  <a:pt x="1871948" y="2493568"/>
                  <a:pt x="1900238" y="2500902"/>
                </a:cubicBezTo>
                <a:cubicBezTo>
                  <a:pt x="1928527" y="2508331"/>
                  <a:pt x="1956721" y="2516142"/>
                  <a:pt x="1985105" y="2523095"/>
                </a:cubicBezTo>
                <a:cubicBezTo>
                  <a:pt x="2013490" y="2530144"/>
                  <a:pt x="2041779" y="2537573"/>
                  <a:pt x="2070259" y="2544050"/>
                </a:cubicBezTo>
                <a:cubicBezTo>
                  <a:pt x="2098739" y="2550813"/>
                  <a:pt x="2127123" y="2557576"/>
                  <a:pt x="2155793" y="2563767"/>
                </a:cubicBezTo>
                <a:cubicBezTo>
                  <a:pt x="2184368" y="2570149"/>
                  <a:pt x="2212943" y="2576435"/>
                  <a:pt x="2241614" y="2582150"/>
                </a:cubicBezTo>
                <a:lnTo>
                  <a:pt x="2284571" y="2591009"/>
                </a:lnTo>
                <a:lnTo>
                  <a:pt x="2327720" y="2599200"/>
                </a:lnTo>
                <a:cubicBezTo>
                  <a:pt x="2356390" y="2604820"/>
                  <a:pt x="2385251" y="2609868"/>
                  <a:pt x="2414111" y="2614916"/>
                </a:cubicBezTo>
                <a:cubicBezTo>
                  <a:pt x="2442877" y="2620155"/>
                  <a:pt x="2471833" y="2624536"/>
                  <a:pt x="2500694" y="2629109"/>
                </a:cubicBezTo>
                <a:cubicBezTo>
                  <a:pt x="2529554" y="2633871"/>
                  <a:pt x="2558605" y="2637586"/>
                  <a:pt x="2587562" y="2641872"/>
                </a:cubicBezTo>
                <a:cubicBezTo>
                  <a:pt x="2616518" y="2645872"/>
                  <a:pt x="2645664" y="2649302"/>
                  <a:pt x="2674620" y="2653016"/>
                </a:cubicBezTo>
                <a:cubicBezTo>
                  <a:pt x="2703767" y="2656160"/>
                  <a:pt x="2732818" y="2659588"/>
                  <a:pt x="2761964" y="2662446"/>
                </a:cubicBezTo>
                <a:cubicBezTo>
                  <a:pt x="2791111" y="2665018"/>
                  <a:pt x="2820257" y="2668161"/>
                  <a:pt x="2849499" y="2670161"/>
                </a:cubicBezTo>
                <a:cubicBezTo>
                  <a:pt x="2878741" y="2672447"/>
                  <a:pt x="2907887" y="2674543"/>
                  <a:pt x="2937129" y="2676067"/>
                </a:cubicBezTo>
                <a:cubicBezTo>
                  <a:pt x="2995613" y="2679686"/>
                  <a:pt x="3054191" y="2681210"/>
                  <a:pt x="3112770" y="2682163"/>
                </a:cubicBezTo>
                <a:lnTo>
                  <a:pt x="3171920" y="2682163"/>
                </a:lnTo>
                <a:cubicBezTo>
                  <a:pt x="3191637" y="2682163"/>
                  <a:pt x="3211354" y="2681496"/>
                  <a:pt x="3231071" y="2681115"/>
                </a:cubicBezTo>
                <a:cubicBezTo>
                  <a:pt x="3250787" y="2680925"/>
                  <a:pt x="3270504" y="2679781"/>
                  <a:pt x="3290221" y="2679019"/>
                </a:cubicBezTo>
                <a:cubicBezTo>
                  <a:pt x="3309938" y="2678353"/>
                  <a:pt x="3329654" y="2677210"/>
                  <a:pt x="3349371" y="2675781"/>
                </a:cubicBezTo>
                <a:cubicBezTo>
                  <a:pt x="3369088" y="2674543"/>
                  <a:pt x="3388805" y="2673304"/>
                  <a:pt x="3408426" y="2671400"/>
                </a:cubicBezTo>
                <a:cubicBezTo>
                  <a:pt x="3428143" y="2669685"/>
                  <a:pt x="3447764" y="2668161"/>
                  <a:pt x="3467386" y="2665780"/>
                </a:cubicBezTo>
                <a:cubicBezTo>
                  <a:pt x="3506724" y="2661684"/>
                  <a:pt x="3545872" y="2656445"/>
                  <a:pt x="3585020" y="2650349"/>
                </a:cubicBezTo>
                <a:cubicBezTo>
                  <a:pt x="3624072" y="2644253"/>
                  <a:pt x="3663029" y="2637110"/>
                  <a:pt x="3701796" y="2628823"/>
                </a:cubicBezTo>
                <a:cubicBezTo>
                  <a:pt x="3740468" y="2620441"/>
                  <a:pt x="3779044" y="2611106"/>
                  <a:pt x="3817239" y="2600343"/>
                </a:cubicBezTo>
                <a:cubicBezTo>
                  <a:pt x="3855434" y="2589485"/>
                  <a:pt x="3893344" y="2577674"/>
                  <a:pt x="3930587" y="2563958"/>
                </a:cubicBezTo>
                <a:lnTo>
                  <a:pt x="3958590" y="2553670"/>
                </a:lnTo>
                <a:lnTo>
                  <a:pt x="3986213" y="2542431"/>
                </a:lnTo>
                <a:cubicBezTo>
                  <a:pt x="3995357" y="2538621"/>
                  <a:pt x="4004691" y="2535097"/>
                  <a:pt x="4013740" y="2530906"/>
                </a:cubicBezTo>
                <a:lnTo>
                  <a:pt x="4040886" y="2518523"/>
                </a:lnTo>
                <a:cubicBezTo>
                  <a:pt x="4059174" y="2510618"/>
                  <a:pt x="4076605" y="2500902"/>
                  <a:pt x="4094512" y="2492044"/>
                </a:cubicBezTo>
                <a:cubicBezTo>
                  <a:pt x="4112133" y="2482804"/>
                  <a:pt x="4129373" y="2472613"/>
                  <a:pt x="4146709" y="2462802"/>
                </a:cubicBezTo>
                <a:cubicBezTo>
                  <a:pt x="4180618" y="2441752"/>
                  <a:pt x="4214337" y="2420035"/>
                  <a:pt x="4245579" y="2394889"/>
                </a:cubicBezTo>
                <a:cubicBezTo>
                  <a:pt x="4277392" y="2370600"/>
                  <a:pt x="4306920" y="2343168"/>
                  <a:pt x="4335018" y="2314498"/>
                </a:cubicBezTo>
                <a:cubicBezTo>
                  <a:pt x="4348544" y="2299639"/>
                  <a:pt x="4362546" y="2285161"/>
                  <a:pt x="4374928" y="2269254"/>
                </a:cubicBezTo>
                <a:cubicBezTo>
                  <a:pt x="4381119" y="2261348"/>
                  <a:pt x="4387882" y="2253823"/>
                  <a:pt x="4393692" y="2245632"/>
                </a:cubicBezTo>
                <a:lnTo>
                  <a:pt x="4411313" y="2221057"/>
                </a:lnTo>
                <a:cubicBezTo>
                  <a:pt x="4417410" y="2213056"/>
                  <a:pt x="4422362" y="2204198"/>
                  <a:pt x="4427792" y="2195721"/>
                </a:cubicBezTo>
                <a:cubicBezTo>
                  <a:pt x="4433030" y="2187053"/>
                  <a:pt x="4438841" y="2178862"/>
                  <a:pt x="4443508" y="2169908"/>
                </a:cubicBezTo>
                <a:cubicBezTo>
                  <a:pt x="4453033" y="2152192"/>
                  <a:pt x="4463034" y="2134666"/>
                  <a:pt x="4471035" y="2116092"/>
                </a:cubicBezTo>
                <a:cubicBezTo>
                  <a:pt x="4488466" y="2079706"/>
                  <a:pt x="4501325" y="2041321"/>
                  <a:pt x="4512374" y="2002649"/>
                </a:cubicBezTo>
                <a:cubicBezTo>
                  <a:pt x="4533043" y="1924830"/>
                  <a:pt x="4541520" y="1844153"/>
                  <a:pt x="4539996" y="1764238"/>
                </a:cubicBezTo>
                <a:lnTo>
                  <a:pt x="4538091" y="1725186"/>
                </a:lnTo>
                <a:cubicBezTo>
                  <a:pt x="4537710" y="1712137"/>
                  <a:pt x="4536186" y="1699278"/>
                  <a:pt x="4534948" y="1686324"/>
                </a:cubicBezTo>
                <a:cubicBezTo>
                  <a:pt x="4532853" y="1660321"/>
                  <a:pt x="4528757" y="1634698"/>
                  <a:pt x="4524852" y="1609076"/>
                </a:cubicBezTo>
                <a:cubicBezTo>
                  <a:pt x="4515898" y="1557927"/>
                  <a:pt x="4504849" y="1507254"/>
                  <a:pt x="4490276" y="1457629"/>
                </a:cubicBezTo>
                <a:cubicBezTo>
                  <a:pt x="4486656" y="1445246"/>
                  <a:pt x="4483322" y="1432673"/>
                  <a:pt x="4479417" y="1420386"/>
                </a:cubicBezTo>
                <a:lnTo>
                  <a:pt x="4467225" y="1383619"/>
                </a:lnTo>
                <a:cubicBezTo>
                  <a:pt x="4459510" y="1358950"/>
                  <a:pt x="4449795" y="1335042"/>
                  <a:pt x="4441031" y="1310753"/>
                </a:cubicBezTo>
                <a:cubicBezTo>
                  <a:pt x="4431983" y="1286560"/>
                  <a:pt x="4421601" y="1262938"/>
                  <a:pt x="4411980" y="1239030"/>
                </a:cubicBezTo>
                <a:cubicBezTo>
                  <a:pt x="4401693" y="1215408"/>
                  <a:pt x="4390930" y="1191976"/>
                  <a:pt x="4380357" y="1168450"/>
                </a:cubicBezTo>
                <a:lnTo>
                  <a:pt x="4380357" y="1168259"/>
                </a:lnTo>
                <a:cubicBezTo>
                  <a:pt x="4375595" y="1157782"/>
                  <a:pt x="4370832" y="1147304"/>
                  <a:pt x="4366165" y="1136827"/>
                </a:cubicBezTo>
                <a:lnTo>
                  <a:pt x="4352068" y="1105394"/>
                </a:lnTo>
                <a:cubicBezTo>
                  <a:pt x="4343019" y="1084344"/>
                  <a:pt x="4334637" y="1063008"/>
                  <a:pt x="4325874" y="1041767"/>
                </a:cubicBezTo>
                <a:cubicBezTo>
                  <a:pt x="4317397" y="1020526"/>
                  <a:pt x="4310063" y="998809"/>
                  <a:pt x="4302157" y="977378"/>
                </a:cubicBezTo>
                <a:cubicBezTo>
                  <a:pt x="4294632" y="955756"/>
                  <a:pt x="4288155" y="933849"/>
                  <a:pt x="4281202" y="912132"/>
                </a:cubicBezTo>
                <a:cubicBezTo>
                  <a:pt x="4275106" y="890129"/>
                  <a:pt x="4269105" y="868126"/>
                  <a:pt x="4263581" y="846028"/>
                </a:cubicBezTo>
                <a:lnTo>
                  <a:pt x="4256437" y="812691"/>
                </a:lnTo>
                <a:lnTo>
                  <a:pt x="4252818" y="796022"/>
                </a:lnTo>
                <a:lnTo>
                  <a:pt x="4250055" y="779258"/>
                </a:lnTo>
                <a:lnTo>
                  <a:pt x="4244626" y="745635"/>
                </a:lnTo>
                <a:cubicBezTo>
                  <a:pt x="4243102" y="734395"/>
                  <a:pt x="4242245" y="723156"/>
                  <a:pt x="4241006" y="711821"/>
                </a:cubicBezTo>
                <a:cubicBezTo>
                  <a:pt x="4238054" y="689342"/>
                  <a:pt x="4238244" y="666768"/>
                  <a:pt x="4237006" y="644194"/>
                </a:cubicBezTo>
                <a:lnTo>
                  <a:pt x="4237673" y="616190"/>
                </a:lnTo>
                <a:cubicBezTo>
                  <a:pt x="4237863" y="606856"/>
                  <a:pt x="4237959" y="597521"/>
                  <a:pt x="4239102" y="588282"/>
                </a:cubicBezTo>
                <a:lnTo>
                  <a:pt x="4241769" y="560469"/>
                </a:lnTo>
                <a:cubicBezTo>
                  <a:pt x="4242626" y="551230"/>
                  <a:pt x="4244721" y="542086"/>
                  <a:pt x="4246055" y="532942"/>
                </a:cubicBezTo>
                <a:cubicBezTo>
                  <a:pt x="4248531" y="514463"/>
                  <a:pt x="4253865" y="496651"/>
                  <a:pt x="4258056" y="478649"/>
                </a:cubicBezTo>
                <a:cubicBezTo>
                  <a:pt x="4260628" y="469791"/>
                  <a:pt x="4263866" y="461123"/>
                  <a:pt x="4266629" y="452265"/>
                </a:cubicBezTo>
                <a:cubicBezTo>
                  <a:pt x="4268153" y="447883"/>
                  <a:pt x="4269486" y="443502"/>
                  <a:pt x="4271105" y="439120"/>
                </a:cubicBezTo>
                <a:lnTo>
                  <a:pt x="4276535" y="426357"/>
                </a:lnTo>
                <a:cubicBezTo>
                  <a:pt x="4290155" y="391972"/>
                  <a:pt x="4308920" y="359872"/>
                  <a:pt x="4330732" y="330154"/>
                </a:cubicBezTo>
                <a:cubicBezTo>
                  <a:pt x="4341305" y="315010"/>
                  <a:pt x="4353782" y="301294"/>
                  <a:pt x="4365879" y="287292"/>
                </a:cubicBezTo>
                <a:cubicBezTo>
                  <a:pt x="4379024" y="274243"/>
                  <a:pt x="4391692" y="260812"/>
                  <a:pt x="4406170" y="249001"/>
                </a:cubicBezTo>
                <a:cubicBezTo>
                  <a:pt x="4419886" y="236428"/>
                  <a:pt x="4435126" y="225760"/>
                  <a:pt x="4449985" y="214521"/>
                </a:cubicBezTo>
                <a:cubicBezTo>
                  <a:pt x="4465511" y="204139"/>
                  <a:pt x="4480846" y="193566"/>
                  <a:pt x="4497229" y="184422"/>
                </a:cubicBezTo>
                <a:cubicBezTo>
                  <a:pt x="4513136" y="174611"/>
                  <a:pt x="4530090" y="166515"/>
                  <a:pt x="4546759" y="157847"/>
                </a:cubicBezTo>
                <a:cubicBezTo>
                  <a:pt x="4563904" y="150132"/>
                  <a:pt x="4580763" y="141845"/>
                  <a:pt x="4598385" y="135082"/>
                </a:cubicBezTo>
                <a:cubicBezTo>
                  <a:pt x="4668012" y="106412"/>
                  <a:pt x="4741640" y="86981"/>
                  <a:pt x="4816031" y="72122"/>
                </a:cubicBezTo>
                <a:cubicBezTo>
                  <a:pt x="4926616" y="50691"/>
                  <a:pt x="5039582" y="41071"/>
                  <a:pt x="5152644" y="38308"/>
                </a:cubicBezTo>
                <a:lnTo>
                  <a:pt x="5192554" y="37642"/>
                </a:lnTo>
                <a:cubicBezTo>
                  <a:pt x="5219129" y="37642"/>
                  <a:pt x="5259039" y="37261"/>
                  <a:pt x="5312283" y="38975"/>
                </a:cubicBezTo>
                <a:cubicBezTo>
                  <a:pt x="5365528" y="40594"/>
                  <a:pt x="5432012" y="44023"/>
                  <a:pt x="5511641" y="51167"/>
                </a:cubicBezTo>
                <a:cubicBezTo>
                  <a:pt x="5591080" y="58406"/>
                  <a:pt x="5684330" y="68884"/>
                  <a:pt x="5788533" y="87362"/>
                </a:cubicBezTo>
                <a:close/>
              </a:path>
            </a:pathLst>
          </a:custGeom>
          <a:gradFill flip="none" rotWithShape="1">
            <a:gsLst>
              <a:gs pos="88000">
                <a:schemeClr val="accent2">
                  <a:alpha val="0"/>
                </a:schemeClr>
              </a:gs>
              <a:gs pos="13000">
                <a:schemeClr val="accent2">
                  <a:alpha val="0"/>
                </a:schemeClr>
              </a:gs>
              <a:gs pos="61000">
                <a:srgbClr val="12ABDB"/>
              </a:gs>
              <a:gs pos="36000">
                <a:srgbClr val="12ABDB"/>
              </a:gs>
            </a:gsLst>
            <a:lin ang="8100000" scaled="1"/>
            <a:tileRect/>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1670342178"/>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Content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accent1"/>
                </a:solidFill>
                <a:latin typeface="Ubuntu" panose="020B0504030602030204" pitchFamily="34" charset="0"/>
              </a:defRPr>
            </a:lvl1pPr>
          </a:lstStyle>
          <a:p>
            <a:pPr lvl="0"/>
            <a:r>
              <a:rPr lang="en-US"/>
              <a:t>Click to change the styles of the mask text</a:t>
            </a:r>
            <a:endParaRPr lang="fr-F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hasCustomPrompt="1"/>
          </p:nvPr>
        </p:nvSpPr>
        <p:spPr>
          <a:xfrm>
            <a:off x="414971" y="1624108"/>
            <a:ext cx="11369042" cy="4829080"/>
          </a:xfrm>
          <a:prstGeom prst="rect">
            <a:avLst/>
          </a:prstGeom>
        </p:spPr>
        <p:txBody>
          <a:bodyPr>
            <a:noAutofit/>
          </a:bodyPr>
          <a:lstStyle/>
          <a:p>
            <a:pPr lvl="0"/>
            <a:r>
              <a:rPr lang="en-US"/>
              <a:t>Click to change the styles of the mask text</a:t>
            </a:r>
            <a:endParaRPr lang="fr-F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92564CED-1C28-DF10-1067-5941504A95A0}"/>
              </a:ext>
            </a:extLst>
          </p:cNvPr>
          <p:cNvSpPr>
            <a:spLocks noGrp="1"/>
          </p:cNvSpPr>
          <p:nvPr>
            <p:ph type="title" hasCustomPrompt="1"/>
          </p:nvPr>
        </p:nvSpPr>
        <p:spPr/>
        <p:txBody>
          <a:bodyPr/>
          <a:lstStyle/>
          <a:p>
            <a:r>
              <a:rPr lang="en-US" noProof="0"/>
              <a:t>Insert page title (sentence case) </a:t>
            </a:r>
            <a:endParaRPr lang="en-US"/>
          </a:p>
        </p:txBody>
      </p:sp>
    </p:spTree>
    <p:extLst>
      <p:ext uri="{BB962C8B-B14F-4D97-AF65-F5344CB8AC3E}">
        <p14:creationId xmlns:p14="http://schemas.microsoft.com/office/powerpoint/2010/main" val="260883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Empty Grey">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1089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itle Only Short White">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8040215" y="1122907"/>
            <a:ext cx="4151785"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409221" cy="246221"/>
          </a:xfrm>
          <a:prstGeom prst="rect">
            <a:avLst/>
          </a:prstGeom>
        </p:spPr>
        <p:txBody>
          <a:bodyPr wrap="square" lIns="0" rIns="72000">
            <a:spAutoFit/>
          </a:bodyPr>
          <a:lstStyle>
            <a:lvl1pPr>
              <a:defRPr sz="1600" b="0">
                <a:solidFill>
                  <a:schemeClr val="accent1"/>
                </a:solidFill>
                <a:latin typeface="Ubuntu" panose="020B05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hasCustomPrompt="1"/>
          </p:nvPr>
        </p:nvSpPr>
        <p:spPr>
          <a:xfrm>
            <a:off x="414971" y="1628800"/>
            <a:ext cx="7409221" cy="4824388"/>
          </a:xfrm>
          <a:prstGeom prst="rect">
            <a:avLst/>
          </a:prstGeom>
        </p:spPr>
        <p:txBody>
          <a:bodyPr rIns="216000">
            <a:noAutofit/>
          </a:bodyPr>
          <a:lstStyle>
            <a:lvl1pPr>
              <a:defRPr sz="1400"/>
            </a:lvl1pPr>
            <a:lvl2pPr>
              <a:defRPr sz="1400"/>
            </a:lvl2pPr>
            <a:lvl3pPr marL="360000" indent="-180000">
              <a:buFont typeface="Verdana" panose="020B0604030504040204" pitchFamily="34" charset="0"/>
              <a:buChar char="–"/>
              <a:defRPr sz="1400"/>
            </a:lvl3pPr>
            <a:lvl4pPr marL="539750" indent="-180000">
              <a:buFont typeface="Arial" panose="020B0604020202020204" pitchFamily="34" charset="0"/>
              <a:buChar char="•"/>
              <a:defRPr sz="1200"/>
            </a:lvl4pPr>
            <a:lvl5pPr marL="719138" indent="-180975">
              <a:buFont typeface="Courier New" panose="02070309020205020404" pitchFamily="49" charset="0"/>
              <a:buChar char="o"/>
              <a:defRPr sz="1200"/>
            </a:lvl5pPr>
          </a:lstStyle>
          <a:p>
            <a:pPr lvl="0"/>
            <a:r>
              <a:rPr lang="en-US"/>
              <a:t>Click to change the styles of the mask text</a:t>
            </a:r>
            <a:endParaRPr lang="fr-F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2">
            <a:extLst>
              <a:ext uri="{FF2B5EF4-FFF2-40B4-BE49-F238E27FC236}">
                <a16:creationId xmlns:a16="http://schemas.microsoft.com/office/drawing/2014/main" id="{2050C691-8B76-E01C-4EF1-3EB567E0EB3B}"/>
              </a:ext>
            </a:extLst>
          </p:cNvPr>
          <p:cNvSpPr>
            <a:spLocks noGrp="1"/>
          </p:cNvSpPr>
          <p:nvPr>
            <p:ph type="title" hasCustomPrompt="1"/>
          </p:nvPr>
        </p:nvSpPr>
        <p:spPr/>
        <p:txBody>
          <a:bodyPr/>
          <a:lstStyle/>
          <a:p>
            <a:r>
              <a:rPr lang="en-US" noProof="0"/>
              <a:t>Insert page title (sentence case) </a:t>
            </a:r>
            <a:endParaRPr lang="en-US"/>
          </a:p>
        </p:txBody>
      </p:sp>
      <p:grpSp>
        <p:nvGrpSpPr>
          <p:cNvPr id="4" name="Groupe 1">
            <a:extLst>
              <a:ext uri="{FF2B5EF4-FFF2-40B4-BE49-F238E27FC236}">
                <a16:creationId xmlns:a16="http://schemas.microsoft.com/office/drawing/2014/main" id="{596E08A9-C5D5-FDD5-DBDE-7D9CE950D4D2}"/>
              </a:ext>
            </a:extLst>
          </p:cNvPr>
          <p:cNvGrpSpPr/>
          <p:nvPr userDrawn="1"/>
        </p:nvGrpSpPr>
        <p:grpSpPr>
          <a:xfrm>
            <a:off x="11501102" y="171573"/>
            <a:ext cx="419436" cy="388988"/>
            <a:chOff x="11501102" y="171573"/>
            <a:chExt cx="419436" cy="388988"/>
          </a:xfrm>
        </p:grpSpPr>
        <p:sp>
          <p:nvSpPr>
            <p:cNvPr id="5" name="Freeform 13">
              <a:extLst>
                <a:ext uri="{FF2B5EF4-FFF2-40B4-BE49-F238E27FC236}">
                  <a16:creationId xmlns:a16="http://schemas.microsoft.com/office/drawing/2014/main" id="{AD8A8A7C-134A-7630-D15D-0122133F4D14}"/>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 name="Freeform 14">
              <a:extLst>
                <a:ext uri="{FF2B5EF4-FFF2-40B4-BE49-F238E27FC236}">
                  <a16:creationId xmlns:a16="http://schemas.microsoft.com/office/drawing/2014/main" id="{FB7B0AEB-361B-8192-B422-442DB3A4010F}"/>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ctangle 27">
            <a:extLst>
              <a:ext uri="{FF2B5EF4-FFF2-40B4-BE49-F238E27FC236}">
                <a16:creationId xmlns:a16="http://schemas.microsoft.com/office/drawing/2014/main" id="{818C57D6-7EC8-0B98-6DBA-31948B331DF5}"/>
              </a:ext>
            </a:extLst>
          </p:cNvPr>
          <p:cNvSpPr/>
          <p:nvPr userDrawn="1"/>
        </p:nvSpPr>
        <p:spPr>
          <a:xfrm>
            <a:off x="40683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chemeClr val="bg1">
                    <a:lumMod val="65000"/>
                  </a:schemeClr>
                </a:solidFill>
                <a:latin typeface="+mn-lt"/>
                <a:cs typeface="Arial" panose="020B0604020202020204" pitchFamily="34" charset="0"/>
              </a:rPr>
              <a:t>Presentation Title  |  Author  |  Date</a:t>
            </a:r>
          </a:p>
        </p:txBody>
      </p:sp>
      <p:sp>
        <p:nvSpPr>
          <p:cNvPr id="8" name="Rectangle 27">
            <a:extLst>
              <a:ext uri="{FF2B5EF4-FFF2-40B4-BE49-F238E27FC236}">
                <a16:creationId xmlns:a16="http://schemas.microsoft.com/office/drawing/2014/main" id="{318764AF-B505-1F95-E7EC-00AE97A2285C}"/>
              </a:ext>
            </a:extLst>
          </p:cNvPr>
          <p:cNvSpPr/>
          <p:nvPr userDrawn="1"/>
        </p:nvSpPr>
        <p:spPr>
          <a:xfrm>
            <a:off x="2596762" y="6517871"/>
            <a:ext cx="5058466" cy="215231"/>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A6A6A6"/>
                </a:solidFill>
                <a:latin typeface="Ubuntu" panose="020B0504030602030204" pitchFamily="34" charset="0"/>
                <a:cs typeface="Arial" panose="020B0604020202020204" pitchFamily="34" charset="0"/>
              </a:rPr>
              <a:t>The information contained in this document is proprietary. </a:t>
            </a:r>
            <a:r>
              <a:rPr lang="en-GB" sz="700">
                <a:solidFill>
                  <a:schemeClr val="bg1">
                    <a:lumMod val="65000"/>
                  </a:schemeClr>
                </a:solidFill>
                <a:latin typeface="+mn-lt"/>
                <a:cs typeface="Arial" panose="020B0604020202020204" pitchFamily="34" charset="0"/>
              </a:rPr>
              <a:t>Company Confidential © Capgemini 2024. All rights reserved  |</a:t>
            </a:r>
          </a:p>
        </p:txBody>
      </p:sp>
      <p:sp>
        <p:nvSpPr>
          <p:cNvPr id="9" name="Rectangle 43">
            <a:extLst>
              <a:ext uri="{FF2B5EF4-FFF2-40B4-BE49-F238E27FC236}">
                <a16:creationId xmlns:a16="http://schemas.microsoft.com/office/drawing/2014/main" id="{1F117FD9-403D-AEE6-A7C1-CE827303948E}"/>
              </a:ext>
            </a:extLst>
          </p:cNvPr>
          <p:cNvSpPr/>
          <p:nvPr userDrawn="1"/>
        </p:nvSpPr>
        <p:spPr>
          <a:xfrm>
            <a:off x="7640124"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3527831939"/>
      </p:ext>
    </p:extLst>
  </p:cSld>
  <p:clrMapOvr>
    <a:masterClrMapping/>
  </p:clrMapOvr>
  <p:extLst>
    <p:ext uri="{DCECCB84-F9BA-43D5-87BE-67443E8EF086}">
      <p15:sldGuideLst xmlns:p15="http://schemas.microsoft.com/office/powerpoint/2012/main">
        <p15:guide id="1" pos="5065">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2_Title Only Short White">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97BD40BB-A2F0-F646-3CC2-596CC4195838}"/>
              </a:ext>
            </a:extLst>
          </p:cNvPr>
          <p:cNvSpPr>
            <a:spLocks noGrp="1"/>
          </p:cNvSpPr>
          <p:nvPr>
            <p:ph type="pic" sz="quarter" idx="18" hasCustomPrompt="1"/>
          </p:nvPr>
        </p:nvSpPr>
        <p:spPr>
          <a:xfrm>
            <a:off x="6096000" y="1122907"/>
            <a:ext cx="6096001"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accent1"/>
                </a:solidFill>
                <a:latin typeface="Ubuntu" panose="020B05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hasCustomPrompt="1"/>
          </p:nvPr>
        </p:nvSpPr>
        <p:spPr>
          <a:xfrm>
            <a:off x="414971" y="1628775"/>
            <a:ext cx="5545137" cy="4824413"/>
          </a:xfrm>
          <a:prstGeom prst="rect">
            <a:avLst/>
          </a:prstGeom>
        </p:spPr>
        <p:txBody>
          <a:bodyPr rIns="216000">
            <a:noAutofit/>
          </a:bodyPr>
          <a:lstStyle>
            <a:lvl1pPr>
              <a:defRPr sz="1400"/>
            </a:lvl1pPr>
            <a:lvl2pPr>
              <a:defRPr sz="1400"/>
            </a:lvl2pPr>
            <a:lvl3pPr marL="360000" indent="-180000">
              <a:buFont typeface="Verdana" panose="020B0604030504040204" pitchFamily="34" charset="0"/>
              <a:buChar char="–"/>
              <a:defRPr sz="1400"/>
            </a:lvl3pPr>
            <a:lvl4pPr marL="539750" indent="-180000">
              <a:buFont typeface="Arial" panose="020B0604020202020204" pitchFamily="34" charset="0"/>
              <a:buChar char="•"/>
              <a:defRPr sz="1200"/>
            </a:lvl4pPr>
            <a:lvl5pPr marL="719138" indent="-180975">
              <a:buFont typeface="Courier New" panose="02070309020205020404" pitchFamily="49" charset="0"/>
              <a:buChar char="o"/>
              <a:defRPr sz="1200"/>
            </a:lvl5pPr>
          </a:lstStyle>
          <a:p>
            <a:pPr lvl="0"/>
            <a:r>
              <a:rPr lang="en-US"/>
              <a:t>Click to change the styles of the mask text</a:t>
            </a:r>
            <a:endParaRPr lang="fr-F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2">
            <a:extLst>
              <a:ext uri="{FF2B5EF4-FFF2-40B4-BE49-F238E27FC236}">
                <a16:creationId xmlns:a16="http://schemas.microsoft.com/office/drawing/2014/main" id="{80C572A4-9113-ABE4-A840-37A9AAC56C99}"/>
              </a:ext>
            </a:extLst>
          </p:cNvPr>
          <p:cNvSpPr>
            <a:spLocks noGrp="1"/>
          </p:cNvSpPr>
          <p:nvPr>
            <p:ph type="title" hasCustomPrompt="1"/>
          </p:nvPr>
        </p:nvSpPr>
        <p:spPr/>
        <p:txBody>
          <a:bodyPr/>
          <a:lstStyle/>
          <a:p>
            <a:r>
              <a:rPr lang="en-US" noProof="0"/>
              <a:t>Insert page title (sentence case) </a:t>
            </a:r>
            <a:endParaRPr lang="en-US"/>
          </a:p>
        </p:txBody>
      </p:sp>
      <p:grpSp>
        <p:nvGrpSpPr>
          <p:cNvPr id="6" name="Groupe 1">
            <a:extLst>
              <a:ext uri="{FF2B5EF4-FFF2-40B4-BE49-F238E27FC236}">
                <a16:creationId xmlns:a16="http://schemas.microsoft.com/office/drawing/2014/main" id="{D6192521-DB03-B9CD-2DFC-BD136DBEA81E}"/>
              </a:ext>
            </a:extLst>
          </p:cNvPr>
          <p:cNvGrpSpPr/>
          <p:nvPr userDrawn="1"/>
        </p:nvGrpSpPr>
        <p:grpSpPr>
          <a:xfrm>
            <a:off x="11501102" y="171573"/>
            <a:ext cx="419436" cy="388988"/>
            <a:chOff x="11501102" y="171573"/>
            <a:chExt cx="419436" cy="388988"/>
          </a:xfrm>
        </p:grpSpPr>
        <p:sp>
          <p:nvSpPr>
            <p:cNvPr id="7" name="Freeform 13">
              <a:extLst>
                <a:ext uri="{FF2B5EF4-FFF2-40B4-BE49-F238E27FC236}">
                  <a16:creationId xmlns:a16="http://schemas.microsoft.com/office/drawing/2014/main" id="{03590FAB-C67B-73E4-7031-6D363A0BEB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2DC6D1D3-C461-06B5-6CE9-5723864FB4F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0" name="Rectangle 27">
            <a:extLst>
              <a:ext uri="{FF2B5EF4-FFF2-40B4-BE49-F238E27FC236}">
                <a16:creationId xmlns:a16="http://schemas.microsoft.com/office/drawing/2014/main" id="{1CEE9060-DA15-7F07-597D-6CE77334012F}"/>
              </a:ext>
            </a:extLst>
          </p:cNvPr>
          <p:cNvSpPr/>
          <p:nvPr userDrawn="1"/>
        </p:nvSpPr>
        <p:spPr>
          <a:xfrm>
            <a:off x="771972" y="6517871"/>
            <a:ext cx="5058466" cy="215231"/>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A6A6A6"/>
                </a:solidFill>
                <a:latin typeface="Ubuntu" panose="020B0504030602030204" pitchFamily="34" charset="0"/>
                <a:cs typeface="Arial" panose="020B0604020202020204" pitchFamily="34" charset="0"/>
              </a:rPr>
              <a:t>The information contained in this document is proprietary. Copyright © 2024 Capgemini. All rights reserved. </a:t>
            </a:r>
            <a:r>
              <a:rPr lang="en-GB" sz="700">
                <a:solidFill>
                  <a:srgbClr val="A6A6A6"/>
                </a:solidFill>
                <a:latin typeface="Ubuntu" panose="020B0504030602030204" pitchFamily="34" charset="0"/>
                <a:cs typeface="Arial" panose="020B0604020202020204" pitchFamily="34" charset="0"/>
              </a:rPr>
              <a:t>|</a:t>
            </a:r>
          </a:p>
        </p:txBody>
      </p:sp>
      <p:sp>
        <p:nvSpPr>
          <p:cNvPr id="11" name="Rectangle 43">
            <a:extLst>
              <a:ext uri="{FF2B5EF4-FFF2-40B4-BE49-F238E27FC236}">
                <a16:creationId xmlns:a16="http://schemas.microsoft.com/office/drawing/2014/main" id="{482A9D07-2EF1-A518-2DD4-B8379066894D}"/>
              </a:ext>
            </a:extLst>
          </p:cNvPr>
          <p:cNvSpPr/>
          <p:nvPr userDrawn="1"/>
        </p:nvSpPr>
        <p:spPr>
          <a:xfrm>
            <a:off x="5815334"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18919780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itle Only Short Whit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B58C20F-AA44-45A0-8BD7-3F72A12E08AD}"/>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5538"/>
            <a:ext cx="6984000" cy="246221"/>
          </a:xfrm>
          <a:prstGeom prst="rect">
            <a:avLst/>
          </a:prstGeom>
        </p:spPr>
        <p:txBody>
          <a:bodyPr wrap="square" lIns="0" rIns="72000">
            <a:spAutoFit/>
          </a:bodyPr>
          <a:lstStyle>
            <a:lvl1pPr>
              <a:defRPr sz="1600" b="0">
                <a:solidFill>
                  <a:schemeClr val="accent1"/>
                </a:solidFill>
                <a:latin typeface="Ubuntu" panose="020B0504030602030204" pitchFamily="34" charset="0"/>
              </a:defRPr>
            </a:lvl1pPr>
          </a:lstStyle>
          <a:p>
            <a:pPr lvl="0"/>
            <a:r>
              <a:rPr lang="en-US"/>
              <a:t>Click to edit Master text styles</a:t>
            </a: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hasCustomPrompt="1"/>
          </p:nvPr>
        </p:nvSpPr>
        <p:spPr>
          <a:xfrm>
            <a:off x="4445407" y="1628774"/>
            <a:ext cx="6962544" cy="4824413"/>
          </a:xfrm>
          <a:prstGeom prst="rect">
            <a:avLst/>
          </a:prstGeom>
        </p:spPr>
        <p:txBody>
          <a:bodyPr>
            <a:noAutofit/>
          </a:bodyPr>
          <a:lstStyle>
            <a:lvl1pPr>
              <a:defRPr sz="1400"/>
            </a:lvl1pPr>
            <a:lvl2pPr>
              <a:defRPr sz="1400"/>
            </a:lvl2pPr>
            <a:lvl3pPr marL="360000" indent="-180000">
              <a:buFont typeface="Verdana" panose="020B0604030504040204" pitchFamily="34" charset="0"/>
              <a:buChar char="–"/>
              <a:defRPr sz="1400"/>
            </a:lvl3pPr>
            <a:lvl4pPr marL="539750" indent="-180000">
              <a:buFont typeface="Arial" panose="020B0604020202020204" pitchFamily="34" charset="0"/>
              <a:buChar char="•"/>
              <a:defRPr sz="1200"/>
            </a:lvl4pPr>
            <a:lvl5pPr marL="719138" indent="-180975">
              <a:buFont typeface="Courier New" panose="02070309020205020404" pitchFamily="49" charset="0"/>
              <a:buChar char="o"/>
              <a:defRPr sz="1200"/>
            </a:lvl5pPr>
          </a:lstStyle>
          <a:p>
            <a:pPr lvl="0"/>
            <a:r>
              <a:rPr lang="en-US"/>
              <a:t>Click to change the styles of the mask text</a:t>
            </a:r>
            <a:endParaRPr lang="fr-F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0" y="0"/>
            <a:ext cx="4223792"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itle 1">
            <a:extLst>
              <a:ext uri="{FF2B5EF4-FFF2-40B4-BE49-F238E27FC236}">
                <a16:creationId xmlns:a16="http://schemas.microsoft.com/office/drawing/2014/main" id="{A0A52824-0DEF-7B5E-1D4F-BCBC062D66ED}"/>
              </a:ext>
            </a:extLst>
          </p:cNvPr>
          <p:cNvSpPr>
            <a:spLocks noGrp="1"/>
          </p:cNvSpPr>
          <p:nvPr>
            <p:ph type="title" hasCustomPrompt="1"/>
          </p:nvPr>
        </p:nvSpPr>
        <p:spPr>
          <a:xfrm>
            <a:off x="4439384" y="260350"/>
            <a:ext cx="6984000" cy="792163"/>
          </a:xfrm>
        </p:spPr>
        <p:txBody>
          <a:bodyPr/>
          <a:lstStyle/>
          <a:p>
            <a:r>
              <a:rPr lang="en-US" noProof="0"/>
              <a:t>Insert page title (sentence case) </a:t>
            </a:r>
          </a:p>
        </p:txBody>
      </p:sp>
    </p:spTree>
    <p:extLst>
      <p:ext uri="{BB962C8B-B14F-4D97-AF65-F5344CB8AC3E}">
        <p14:creationId xmlns:p14="http://schemas.microsoft.com/office/powerpoint/2010/main" val="4071959653"/>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Title Only Short White">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8930BD6-6C9D-490A-BF02-403245ED990A}"/>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p:nvPr>
        </p:nvSpPr>
        <p:spPr>
          <a:xfrm>
            <a:off x="6357528" y="1125538"/>
            <a:ext cx="5063967" cy="246221"/>
          </a:xfrm>
          <a:prstGeom prst="rect">
            <a:avLst/>
          </a:prstGeom>
        </p:spPr>
        <p:txBody>
          <a:bodyPr wrap="square" lIns="0" rIns="72000">
            <a:spAutoFit/>
          </a:bodyPr>
          <a:lstStyle>
            <a:lvl1pPr>
              <a:defRPr sz="1600" b="0">
                <a:solidFill>
                  <a:schemeClr val="accent1"/>
                </a:solidFill>
                <a:latin typeface="Ubuntu" panose="020B0504030602030204" pitchFamily="34" charset="0"/>
              </a:defRPr>
            </a:lvl1pPr>
          </a:lstStyle>
          <a:p>
            <a:pPr lvl="0"/>
            <a:r>
              <a:rPr lang="en-US" noProof="0"/>
              <a:t>Click to edit Master text styles</a:t>
            </a: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hasCustomPrompt="1"/>
          </p:nvPr>
        </p:nvSpPr>
        <p:spPr>
          <a:xfrm>
            <a:off x="6357528" y="1627200"/>
            <a:ext cx="5063967" cy="4825988"/>
          </a:xfrm>
          <a:prstGeom prst="rect">
            <a:avLst/>
          </a:prstGeom>
        </p:spPr>
        <p:txBody>
          <a:bodyPr>
            <a:noAutofit/>
          </a:bodyPr>
          <a:lstStyle>
            <a:lvl1pPr>
              <a:defRPr sz="1400"/>
            </a:lvl1pPr>
            <a:lvl2pPr>
              <a:defRPr sz="1400"/>
            </a:lvl2pPr>
            <a:lvl3pPr marL="360000" indent="-180000">
              <a:buFont typeface="Verdana" panose="020B0604030504040204" pitchFamily="34" charset="0"/>
              <a:buChar char="–"/>
              <a:defRPr sz="1400"/>
            </a:lvl3pPr>
            <a:lvl4pPr marL="539750" indent="-180000">
              <a:buFont typeface="Arial" panose="020B0604020202020204" pitchFamily="34" charset="0"/>
              <a:buChar char="•"/>
              <a:defRPr sz="1200"/>
            </a:lvl4pPr>
            <a:lvl5pPr marL="719138" indent="-180975">
              <a:buFont typeface="Courier New" panose="02070309020205020404" pitchFamily="49" charset="0"/>
              <a:buChar char="o"/>
              <a:defRPr sz="1200"/>
            </a:lvl5pPr>
          </a:lstStyle>
          <a:p>
            <a:pPr lvl="0"/>
            <a:r>
              <a:rPr lang="en-US" noProof="0"/>
              <a:t>Click to change the styles of the mask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itle 1">
            <a:extLst>
              <a:ext uri="{FF2B5EF4-FFF2-40B4-BE49-F238E27FC236}">
                <a16:creationId xmlns:a16="http://schemas.microsoft.com/office/drawing/2014/main" id="{4A7337B1-E3AC-A7E5-7836-78F324F9FFAF}"/>
              </a:ext>
            </a:extLst>
          </p:cNvPr>
          <p:cNvSpPr>
            <a:spLocks noGrp="1"/>
          </p:cNvSpPr>
          <p:nvPr>
            <p:ph type="title" hasCustomPrompt="1"/>
          </p:nvPr>
        </p:nvSpPr>
        <p:spPr>
          <a:xfrm>
            <a:off x="6359417" y="260350"/>
            <a:ext cx="5063967" cy="792163"/>
          </a:xfrm>
        </p:spPr>
        <p:txBody>
          <a:bodyPr/>
          <a:lstStyle/>
          <a:p>
            <a:r>
              <a:rPr lang="en-US" noProof="0"/>
              <a:t>Insert page title (sentence case) </a:t>
            </a:r>
          </a:p>
        </p:txBody>
      </p:sp>
    </p:spTree>
    <p:extLst>
      <p:ext uri="{BB962C8B-B14F-4D97-AF65-F5344CB8AC3E}">
        <p14:creationId xmlns:p14="http://schemas.microsoft.com/office/powerpoint/2010/main" val="24259883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Only Title with divider">
    <p:bg>
      <p:bgPr>
        <a:solidFill>
          <a:srgbClr val="ECECEC"/>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9C059C0D-67B4-5B12-F9D8-EC4E5EAC52EE}"/>
              </a:ext>
            </a:extLst>
          </p:cNvPr>
          <p:cNvGrpSpPr/>
          <p:nvPr userDrawn="1"/>
        </p:nvGrpSpPr>
        <p:grpSpPr>
          <a:xfrm>
            <a:off x="0" y="-1210"/>
            <a:ext cx="4859384" cy="6859210"/>
            <a:chOff x="-1" y="-1210"/>
            <a:chExt cx="4859384" cy="6859210"/>
          </a:xfrm>
        </p:grpSpPr>
        <p:sp>
          <p:nvSpPr>
            <p:cNvPr id="3" name="Rectangle 2">
              <a:extLst>
                <a:ext uri="{FF2B5EF4-FFF2-40B4-BE49-F238E27FC236}">
                  <a16:creationId xmlns:a16="http://schemas.microsoft.com/office/drawing/2014/main" id="{3FE02266-E790-A93D-55AF-42F27FFF908E}"/>
                </a:ext>
              </a:extLst>
            </p:cNvPr>
            <p:cNvSpPr/>
            <p:nvPr userDrawn="1"/>
          </p:nvSpPr>
          <p:spPr>
            <a:xfrm flipH="1">
              <a:off x="-1" y="-1210"/>
              <a:ext cx="4859384" cy="6859210"/>
            </a:xfrm>
            <a:prstGeom prst="rect">
              <a:avLst/>
            </a:prstGeom>
            <a:solidFill>
              <a:schemeClr val="bg1"/>
            </a:solidFill>
            <a:ln>
              <a:noFill/>
            </a:ln>
            <a:effectLst>
              <a:outerShdw blurRad="292100" dist="50800" algn="ctr" rotWithShape="0">
                <a:srgbClr val="000000">
                  <a:alpha val="14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cxnSp>
          <p:nvCxnSpPr>
            <p:cNvPr id="4" name="Straight Connector 3">
              <a:extLst>
                <a:ext uri="{FF2B5EF4-FFF2-40B4-BE49-F238E27FC236}">
                  <a16:creationId xmlns:a16="http://schemas.microsoft.com/office/drawing/2014/main" id="{B1520BE2-5380-6A2E-EE74-600B1399B0DD}"/>
                </a:ext>
              </a:extLst>
            </p:cNvPr>
            <p:cNvCxnSpPr/>
            <p:nvPr userDrawn="1"/>
          </p:nvCxnSpPr>
          <p:spPr>
            <a:xfrm>
              <a:off x="4859383" y="-1210"/>
              <a:ext cx="0" cy="68580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DEA8CE45-A6FC-9CE9-F8CD-BA044CFE9412}"/>
              </a:ext>
            </a:extLst>
          </p:cNvPr>
          <p:cNvSpPr>
            <a:spLocks noGrp="1"/>
          </p:cNvSpPr>
          <p:nvPr>
            <p:ph type="title" hasCustomPrompt="1"/>
          </p:nvPr>
        </p:nvSpPr>
        <p:spPr/>
        <p:txBody>
          <a:bodyPr/>
          <a:lstStyle/>
          <a:p>
            <a:r>
              <a:rPr lang="en-US" noProof="0"/>
              <a:t>Insert page title (sentence case) </a:t>
            </a:r>
            <a:endParaRPr lang="en-US"/>
          </a:p>
        </p:txBody>
      </p:sp>
    </p:spTree>
    <p:extLst>
      <p:ext uri="{BB962C8B-B14F-4D97-AF65-F5344CB8AC3E}">
        <p14:creationId xmlns:p14="http://schemas.microsoft.com/office/powerpoint/2010/main" val="32181313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Only Title">
    <p:bg>
      <p:bgPr>
        <a:solidFill>
          <a:schemeClr val="bg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C56ABB11-1403-2D1E-E420-A3F8D0A50BBF}"/>
              </a:ext>
            </a:extLst>
          </p:cNvPr>
          <p:cNvGrpSpPr/>
          <p:nvPr userDrawn="1"/>
        </p:nvGrpSpPr>
        <p:grpSpPr>
          <a:xfrm>
            <a:off x="-1" y="-1210"/>
            <a:ext cx="4859384" cy="6859210"/>
            <a:chOff x="-1" y="-1210"/>
            <a:chExt cx="4859384" cy="6859210"/>
          </a:xfrm>
        </p:grpSpPr>
        <p:sp>
          <p:nvSpPr>
            <p:cNvPr id="3" name="Rectangle 2">
              <a:extLst>
                <a:ext uri="{FF2B5EF4-FFF2-40B4-BE49-F238E27FC236}">
                  <a16:creationId xmlns:a16="http://schemas.microsoft.com/office/drawing/2014/main" id="{3FE02266-E790-A93D-55AF-42F27FFF908E}"/>
                </a:ext>
              </a:extLst>
            </p:cNvPr>
            <p:cNvSpPr/>
            <p:nvPr userDrawn="1"/>
          </p:nvSpPr>
          <p:spPr>
            <a:xfrm flipH="1">
              <a:off x="-1" y="-1210"/>
              <a:ext cx="4859384" cy="6859210"/>
            </a:xfrm>
            <a:prstGeom prst="rect">
              <a:avLst/>
            </a:prstGeom>
            <a:solidFill>
              <a:srgbClr val="ECECEC"/>
            </a:solidFill>
            <a:ln>
              <a:noFill/>
            </a:ln>
            <a:effectLst>
              <a:outerShdw blurRad="292100" dist="50800" algn="ctr"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cxnSp>
          <p:nvCxnSpPr>
            <p:cNvPr id="4" name="Straight Connector 3">
              <a:extLst>
                <a:ext uri="{FF2B5EF4-FFF2-40B4-BE49-F238E27FC236}">
                  <a16:creationId xmlns:a16="http://schemas.microsoft.com/office/drawing/2014/main" id="{B1520BE2-5380-6A2E-EE74-600B1399B0DD}"/>
                </a:ext>
              </a:extLst>
            </p:cNvPr>
            <p:cNvCxnSpPr/>
            <p:nvPr userDrawn="1"/>
          </p:nvCxnSpPr>
          <p:spPr>
            <a:xfrm>
              <a:off x="4859383" y="-1210"/>
              <a:ext cx="0" cy="685800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DEA8CE45-A6FC-9CE9-F8CD-BA044CFE9412}"/>
              </a:ext>
            </a:extLst>
          </p:cNvPr>
          <p:cNvSpPr>
            <a:spLocks noGrp="1"/>
          </p:cNvSpPr>
          <p:nvPr>
            <p:ph type="title" hasCustomPrompt="1"/>
          </p:nvPr>
        </p:nvSpPr>
        <p:spPr/>
        <p:txBody>
          <a:bodyPr/>
          <a:lstStyle/>
          <a:p>
            <a:r>
              <a:rPr lang="en-US" noProof="0"/>
              <a:t>Insert page title (sentence case) </a:t>
            </a:r>
            <a:endParaRPr lang="en-US"/>
          </a:p>
        </p:txBody>
      </p:sp>
    </p:spTree>
    <p:extLst>
      <p:ext uri="{BB962C8B-B14F-4D97-AF65-F5344CB8AC3E}">
        <p14:creationId xmlns:p14="http://schemas.microsoft.com/office/powerpoint/2010/main" val="33472892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Only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hasCustomPrompt="1"/>
          </p:nvPr>
        </p:nvSpPr>
        <p:spPr/>
        <p:txBody>
          <a:bodyPr/>
          <a:lstStyle>
            <a:lvl1pPr>
              <a:defRPr>
                <a:solidFill>
                  <a:schemeClr val="bg1"/>
                </a:solidFill>
              </a:defRPr>
            </a:lvl1pPr>
          </a:lstStyle>
          <a:p>
            <a:r>
              <a:rPr lang="en-US" noProof="0"/>
              <a:t>Insert page title (sentence case) </a:t>
            </a:r>
            <a:endParaRPr lang="en-US"/>
          </a:p>
        </p:txBody>
      </p:sp>
    </p:spTree>
    <p:extLst>
      <p:ext uri="{BB962C8B-B14F-4D97-AF65-F5344CB8AC3E}">
        <p14:creationId xmlns:p14="http://schemas.microsoft.com/office/powerpoint/2010/main" val="9969886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title Dark Grey">
    <p:bg>
      <p:bgPr>
        <a:solidFill>
          <a:schemeClr val="accent4"/>
        </a:soli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mn-lt"/>
              </a:defRPr>
            </a:lvl1pPr>
          </a:lstStyle>
          <a:p>
            <a:pPr lvl="0"/>
            <a:r>
              <a:rPr lang="en-US"/>
              <a:t>Click to edit Master text styles</a:t>
            </a:r>
          </a:p>
        </p:txBody>
      </p:sp>
      <p:sp>
        <p:nvSpPr>
          <p:cNvPr id="2" name="Title 1">
            <a:extLst>
              <a:ext uri="{FF2B5EF4-FFF2-40B4-BE49-F238E27FC236}">
                <a16:creationId xmlns:a16="http://schemas.microsoft.com/office/drawing/2014/main" id="{3D771E05-0646-A062-8DD0-B00651AE6E76}"/>
              </a:ext>
            </a:extLst>
          </p:cNvPr>
          <p:cNvSpPr>
            <a:spLocks noGrp="1"/>
          </p:cNvSpPr>
          <p:nvPr>
            <p:ph type="title" hasCustomPrompt="1"/>
          </p:nvPr>
        </p:nvSpPr>
        <p:spPr/>
        <p:txBody>
          <a:bodyPr/>
          <a:lstStyle>
            <a:lvl1pPr>
              <a:defRPr>
                <a:solidFill>
                  <a:schemeClr val="bg1"/>
                </a:solidFill>
              </a:defRPr>
            </a:lvl1pPr>
          </a:lstStyle>
          <a:p>
            <a:r>
              <a:rPr lang="en-US" noProof="0"/>
              <a:t>Insert page title (sentence case) </a:t>
            </a:r>
            <a:endParaRPr lang="en-US"/>
          </a:p>
        </p:txBody>
      </p:sp>
    </p:spTree>
    <p:extLst>
      <p:ext uri="{BB962C8B-B14F-4D97-AF65-F5344CB8AC3E}">
        <p14:creationId xmlns:p14="http://schemas.microsoft.com/office/powerpoint/2010/main" val="22581476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4">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hasCustomPrompt="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insert subtitle (sentence case) </a:t>
            </a:r>
          </a:p>
        </p:txBody>
      </p:sp>
      <p:sp>
        <p:nvSpPr>
          <p:cNvPr id="5" name="Title">
            <a:extLst>
              <a:ext uri="{FF2B5EF4-FFF2-40B4-BE49-F238E27FC236}">
                <a16:creationId xmlns:a16="http://schemas.microsoft.com/office/drawing/2014/main" id="{EA67FB30-5217-5F8D-B4ED-781E4E0C8973}"/>
              </a:ext>
            </a:extLst>
          </p:cNvPr>
          <p:cNvSpPr>
            <a:spLocks noGrp="1"/>
          </p:cNvSpPr>
          <p:nvPr>
            <p:ph type="ctrTitle" hasCustomPrompt="1"/>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fr-FR"/>
              <a:t>Click to insert cover </a:t>
            </a:r>
            <a:r>
              <a:rPr lang="fr-FR" err="1"/>
              <a:t>title</a:t>
            </a:r>
            <a:r>
              <a:rPr lang="fr-FR"/>
              <a:t> (sentence case) </a:t>
            </a:r>
            <a:endParaRPr lang="en-GB"/>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
        <p:nvSpPr>
          <p:cNvPr id="2" name="Graphic 3">
            <a:extLst>
              <a:ext uri="{FF2B5EF4-FFF2-40B4-BE49-F238E27FC236}">
                <a16:creationId xmlns:a16="http://schemas.microsoft.com/office/drawing/2014/main" id="{0889E8A6-5FFB-E580-73D0-5AFF9F170745}"/>
              </a:ext>
            </a:extLst>
          </p:cNvPr>
          <p:cNvSpPr/>
          <p:nvPr userDrawn="1"/>
        </p:nvSpPr>
        <p:spPr>
          <a:xfrm>
            <a:off x="2889301" y="575517"/>
            <a:ext cx="8829532" cy="7310738"/>
          </a:xfrm>
          <a:custGeom>
            <a:avLst/>
            <a:gdLst>
              <a:gd name="connsiteX0" fmla="*/ 5788629 w 5795867"/>
              <a:gd name="connsiteY0" fmla="*/ 87743 h 4798903"/>
              <a:gd name="connsiteX1" fmla="*/ 5790438 w 5795867"/>
              <a:gd name="connsiteY1" fmla="*/ 78409 h 4798903"/>
              <a:gd name="connsiteX2" fmla="*/ 5792248 w 5795867"/>
              <a:gd name="connsiteY2" fmla="*/ 69074 h 4798903"/>
              <a:gd name="connsiteX3" fmla="*/ 5794058 w 5795867"/>
              <a:gd name="connsiteY3" fmla="*/ 59740 h 4798903"/>
              <a:gd name="connsiteX4" fmla="*/ 5795868 w 5795867"/>
              <a:gd name="connsiteY4" fmla="*/ 50405 h 4798903"/>
              <a:gd name="connsiteX5" fmla="*/ 5515261 w 5795867"/>
              <a:gd name="connsiteY5" fmla="*/ 13734 h 4798903"/>
              <a:gd name="connsiteX6" fmla="*/ 5313712 w 5795867"/>
              <a:gd name="connsiteY6" fmla="*/ 1447 h 4798903"/>
              <a:gd name="connsiteX7" fmla="*/ 5192459 w 5795867"/>
              <a:gd name="connsiteY7" fmla="*/ 18 h 4798903"/>
              <a:gd name="connsiteX8" fmla="*/ 5151977 w 5795867"/>
              <a:gd name="connsiteY8" fmla="*/ 685 h 4798903"/>
              <a:gd name="connsiteX9" fmla="*/ 4808982 w 5795867"/>
              <a:gd name="connsiteY9" fmla="*/ 35165 h 4798903"/>
              <a:gd name="connsiteX10" fmla="*/ 4584287 w 5795867"/>
              <a:gd name="connsiteY10" fmla="*/ 100221 h 4798903"/>
              <a:gd name="connsiteX11" fmla="*/ 4530376 w 5795867"/>
              <a:gd name="connsiteY11" fmla="*/ 123938 h 4798903"/>
              <a:gd name="connsiteX12" fmla="*/ 4478370 w 5795867"/>
              <a:gd name="connsiteY12" fmla="*/ 151942 h 4798903"/>
              <a:gd name="connsiteX13" fmla="*/ 4428363 w 5795867"/>
              <a:gd name="connsiteY13" fmla="*/ 183755 h 4798903"/>
              <a:gd name="connsiteX14" fmla="*/ 4381596 w 5795867"/>
              <a:gd name="connsiteY14" fmla="*/ 220522 h 4798903"/>
              <a:gd name="connsiteX15" fmla="*/ 4338352 w 5795867"/>
              <a:gd name="connsiteY15" fmla="*/ 261670 h 4798903"/>
              <a:gd name="connsiteX16" fmla="*/ 4300347 w 5795867"/>
              <a:gd name="connsiteY16" fmla="*/ 307866 h 4798903"/>
              <a:gd name="connsiteX17" fmla="*/ 4241673 w 5795867"/>
              <a:gd name="connsiteY17" fmla="*/ 411974 h 4798903"/>
              <a:gd name="connsiteX18" fmla="*/ 4235863 w 5795867"/>
              <a:gd name="connsiteY18" fmla="*/ 425785 h 4798903"/>
              <a:gd name="connsiteX19" fmla="*/ 4231005 w 5795867"/>
              <a:gd name="connsiteY19" fmla="*/ 439978 h 4798903"/>
              <a:gd name="connsiteX20" fmla="*/ 4221766 w 5795867"/>
              <a:gd name="connsiteY20" fmla="*/ 468362 h 4798903"/>
              <a:gd name="connsiteX21" fmla="*/ 4208812 w 5795867"/>
              <a:gd name="connsiteY21" fmla="*/ 526560 h 4798903"/>
              <a:gd name="connsiteX22" fmla="*/ 4204240 w 5795867"/>
              <a:gd name="connsiteY22" fmla="*/ 555992 h 4798903"/>
              <a:gd name="connsiteX23" fmla="*/ 4201478 w 5795867"/>
              <a:gd name="connsiteY23" fmla="*/ 585520 h 4798903"/>
              <a:gd name="connsiteX24" fmla="*/ 4199954 w 5795867"/>
              <a:gd name="connsiteY24" fmla="*/ 615142 h 4798903"/>
              <a:gd name="connsiteX25" fmla="*/ 4199192 w 5795867"/>
              <a:gd name="connsiteY25" fmla="*/ 644765 h 4798903"/>
              <a:gd name="connsiteX26" fmla="*/ 4203287 w 5795867"/>
              <a:gd name="connsiteY26" fmla="*/ 715726 h 4798903"/>
              <a:gd name="connsiteX27" fmla="*/ 4207097 w 5795867"/>
              <a:gd name="connsiteY27" fmla="*/ 750969 h 4798903"/>
              <a:gd name="connsiteX28" fmla="*/ 4212717 w 5795867"/>
              <a:gd name="connsiteY28" fmla="*/ 785926 h 4798903"/>
              <a:gd name="connsiteX29" fmla="*/ 4215575 w 5795867"/>
              <a:gd name="connsiteY29" fmla="*/ 803356 h 4798903"/>
              <a:gd name="connsiteX30" fmla="*/ 4219289 w 5795867"/>
              <a:gd name="connsiteY30" fmla="*/ 820597 h 4798903"/>
              <a:gd name="connsiteX31" fmla="*/ 4226719 w 5795867"/>
              <a:gd name="connsiteY31" fmla="*/ 855077 h 4798903"/>
              <a:gd name="connsiteX32" fmla="*/ 4244816 w 5795867"/>
              <a:gd name="connsiteY32" fmla="*/ 923181 h 4798903"/>
              <a:gd name="connsiteX33" fmla="*/ 4266343 w 5795867"/>
              <a:gd name="connsiteY33" fmla="*/ 990142 h 4798903"/>
              <a:gd name="connsiteX34" fmla="*/ 4290632 w 5795867"/>
              <a:gd name="connsiteY34" fmla="*/ 1055959 h 4798903"/>
              <a:gd name="connsiteX35" fmla="*/ 4317302 w 5795867"/>
              <a:gd name="connsiteY35" fmla="*/ 1120825 h 4798903"/>
              <a:gd name="connsiteX36" fmla="*/ 4331685 w 5795867"/>
              <a:gd name="connsiteY36" fmla="*/ 1152733 h 4798903"/>
              <a:gd name="connsiteX37" fmla="*/ 4346067 w 5795867"/>
              <a:gd name="connsiteY37" fmla="*/ 1184642 h 4798903"/>
              <a:gd name="connsiteX38" fmla="*/ 4346067 w 5795867"/>
              <a:gd name="connsiteY38" fmla="*/ 1184833 h 4798903"/>
              <a:gd name="connsiteX39" fmla="*/ 4377214 w 5795867"/>
              <a:gd name="connsiteY39" fmla="*/ 1254175 h 4798903"/>
              <a:gd name="connsiteX40" fmla="*/ 4405694 w 5795867"/>
              <a:gd name="connsiteY40" fmla="*/ 1324564 h 4798903"/>
              <a:gd name="connsiteX41" fmla="*/ 4431316 w 5795867"/>
              <a:gd name="connsiteY41" fmla="*/ 1395907 h 4798903"/>
              <a:gd name="connsiteX42" fmla="*/ 4443222 w 5795867"/>
              <a:gd name="connsiteY42" fmla="*/ 1431911 h 4798903"/>
              <a:gd name="connsiteX43" fmla="*/ 4453795 w 5795867"/>
              <a:gd name="connsiteY43" fmla="*/ 1468297 h 4798903"/>
              <a:gd name="connsiteX44" fmla="*/ 4487418 w 5795867"/>
              <a:gd name="connsiteY44" fmla="*/ 1615553 h 4798903"/>
              <a:gd name="connsiteX45" fmla="*/ 4497134 w 5795867"/>
              <a:gd name="connsiteY45" fmla="*/ 1690229 h 4798903"/>
              <a:gd name="connsiteX46" fmla="*/ 4500182 w 5795867"/>
              <a:gd name="connsiteY46" fmla="*/ 1727758 h 4798903"/>
              <a:gd name="connsiteX47" fmla="*/ 4501991 w 5795867"/>
              <a:gd name="connsiteY47" fmla="*/ 1765286 h 4798903"/>
              <a:gd name="connsiteX48" fmla="*/ 4475703 w 5795867"/>
              <a:gd name="connsiteY48" fmla="*/ 1992934 h 4798903"/>
              <a:gd name="connsiteX49" fmla="*/ 4436555 w 5795867"/>
              <a:gd name="connsiteY49" fmla="*/ 2100376 h 4798903"/>
              <a:gd name="connsiteX50" fmla="*/ 4410552 w 5795867"/>
              <a:gd name="connsiteY50" fmla="*/ 2151335 h 4798903"/>
              <a:gd name="connsiteX51" fmla="*/ 4395693 w 5795867"/>
              <a:gd name="connsiteY51" fmla="*/ 2175814 h 4798903"/>
              <a:gd name="connsiteX52" fmla="*/ 4380071 w 5795867"/>
              <a:gd name="connsiteY52" fmla="*/ 2199817 h 4798903"/>
              <a:gd name="connsiteX53" fmla="*/ 4363403 w 5795867"/>
              <a:gd name="connsiteY53" fmla="*/ 2223058 h 4798903"/>
              <a:gd name="connsiteX54" fmla="*/ 4345591 w 5795867"/>
              <a:gd name="connsiteY54" fmla="*/ 2245441 h 4798903"/>
              <a:gd name="connsiteX55" fmla="*/ 4307681 w 5795867"/>
              <a:gd name="connsiteY55" fmla="*/ 2288494 h 4798903"/>
              <a:gd name="connsiteX56" fmla="*/ 4222242 w 5795867"/>
              <a:gd name="connsiteY56" fmla="*/ 2365266 h 4798903"/>
              <a:gd name="connsiteX57" fmla="*/ 4127278 w 5795867"/>
              <a:gd name="connsiteY57" fmla="*/ 2430512 h 4798903"/>
              <a:gd name="connsiteX58" fmla="*/ 4076891 w 5795867"/>
              <a:gd name="connsiteY58" fmla="*/ 2458802 h 4798903"/>
              <a:gd name="connsiteX59" fmla="*/ 4024979 w 5795867"/>
              <a:gd name="connsiteY59" fmla="*/ 2484424 h 4798903"/>
              <a:gd name="connsiteX60" fmla="*/ 3998595 w 5795867"/>
              <a:gd name="connsiteY60" fmla="*/ 2496520 h 4798903"/>
              <a:gd name="connsiteX61" fmla="*/ 3971830 w 5795867"/>
              <a:gd name="connsiteY61" fmla="*/ 2507665 h 4798903"/>
              <a:gd name="connsiteX62" fmla="*/ 3944969 w 5795867"/>
              <a:gd name="connsiteY62" fmla="*/ 2518619 h 4798903"/>
              <a:gd name="connsiteX63" fmla="*/ 3917728 w 5795867"/>
              <a:gd name="connsiteY63" fmla="*/ 2528620 h 4798903"/>
              <a:gd name="connsiteX64" fmla="*/ 3807047 w 5795867"/>
              <a:gd name="connsiteY64" fmla="*/ 2564148 h 4798903"/>
              <a:gd name="connsiteX65" fmla="*/ 3693986 w 5795867"/>
              <a:gd name="connsiteY65" fmla="*/ 2592056 h 4798903"/>
              <a:gd name="connsiteX66" fmla="*/ 3579305 w 5795867"/>
              <a:gd name="connsiteY66" fmla="*/ 2613202 h 4798903"/>
              <a:gd name="connsiteX67" fmla="*/ 3463576 w 5795867"/>
              <a:gd name="connsiteY67" fmla="*/ 2628346 h 4798903"/>
              <a:gd name="connsiteX68" fmla="*/ 3405378 w 5795867"/>
              <a:gd name="connsiteY68" fmla="*/ 2633871 h 4798903"/>
              <a:gd name="connsiteX69" fmla="*/ 3347085 w 5795867"/>
              <a:gd name="connsiteY69" fmla="*/ 2638157 h 4798903"/>
              <a:gd name="connsiteX70" fmla="*/ 3288697 w 5795867"/>
              <a:gd name="connsiteY70" fmla="*/ 2641301 h 4798903"/>
              <a:gd name="connsiteX71" fmla="*/ 3230213 w 5795867"/>
              <a:gd name="connsiteY71" fmla="*/ 2643301 h 4798903"/>
              <a:gd name="connsiteX72" fmla="*/ 3171730 w 5795867"/>
              <a:gd name="connsiteY72" fmla="*/ 2644253 h 4798903"/>
              <a:gd name="connsiteX73" fmla="*/ 3113246 w 5795867"/>
              <a:gd name="connsiteY73" fmla="*/ 2644253 h 4798903"/>
              <a:gd name="connsiteX74" fmla="*/ 2939320 w 5795867"/>
              <a:gd name="connsiteY74" fmla="*/ 2638252 h 4798903"/>
              <a:gd name="connsiteX75" fmla="*/ 2852452 w 5795867"/>
              <a:gd name="connsiteY75" fmla="*/ 2632442 h 4798903"/>
              <a:gd name="connsiteX76" fmla="*/ 2765679 w 5795867"/>
              <a:gd name="connsiteY76" fmla="*/ 2624822 h 4798903"/>
              <a:gd name="connsiteX77" fmla="*/ 2679097 w 5795867"/>
              <a:gd name="connsiteY77" fmla="*/ 2615488 h 4798903"/>
              <a:gd name="connsiteX78" fmla="*/ 2592705 w 5795867"/>
              <a:gd name="connsiteY78" fmla="*/ 2604344 h 4798903"/>
              <a:gd name="connsiteX79" fmla="*/ 2506504 w 5795867"/>
              <a:gd name="connsiteY79" fmla="*/ 2591675 h 4798903"/>
              <a:gd name="connsiteX80" fmla="*/ 2420493 w 5795867"/>
              <a:gd name="connsiteY80" fmla="*/ 2577578 h 4798903"/>
              <a:gd name="connsiteX81" fmla="*/ 2334768 w 5795867"/>
              <a:gd name="connsiteY81" fmla="*/ 2562052 h 4798903"/>
              <a:gd name="connsiteX82" fmla="*/ 2292001 w 5795867"/>
              <a:gd name="connsiteY82" fmla="*/ 2553861 h 4798903"/>
              <a:gd name="connsiteX83" fmla="*/ 2249329 w 5795867"/>
              <a:gd name="connsiteY83" fmla="*/ 2545098 h 4798903"/>
              <a:gd name="connsiteX84" fmla="*/ 2164080 w 5795867"/>
              <a:gd name="connsiteY84" fmla="*/ 2526810 h 4798903"/>
              <a:gd name="connsiteX85" fmla="*/ 2079117 w 5795867"/>
              <a:gd name="connsiteY85" fmla="*/ 2507188 h 4798903"/>
              <a:gd name="connsiteX86" fmla="*/ 1994440 w 5795867"/>
              <a:gd name="connsiteY86" fmla="*/ 2486329 h 4798903"/>
              <a:gd name="connsiteX87" fmla="*/ 1910144 w 5795867"/>
              <a:gd name="connsiteY87" fmla="*/ 2464231 h 4798903"/>
              <a:gd name="connsiteX88" fmla="*/ 1826133 w 5795867"/>
              <a:gd name="connsiteY88" fmla="*/ 2440894 h 4798903"/>
              <a:gd name="connsiteX89" fmla="*/ 1742408 w 5795867"/>
              <a:gd name="connsiteY89" fmla="*/ 2416415 h 4798903"/>
              <a:gd name="connsiteX90" fmla="*/ 1715738 w 5795867"/>
              <a:gd name="connsiteY90" fmla="*/ 2408510 h 4798903"/>
              <a:gd name="connsiteX91" fmla="*/ 1715453 w 5795867"/>
              <a:gd name="connsiteY91" fmla="*/ 2408510 h 4798903"/>
              <a:gd name="connsiteX92" fmla="*/ 1715357 w 5795867"/>
              <a:gd name="connsiteY92" fmla="*/ 2408510 h 4798903"/>
              <a:gd name="connsiteX93" fmla="*/ 1588961 w 5795867"/>
              <a:gd name="connsiteY93" fmla="*/ 2489758 h 4798903"/>
              <a:gd name="connsiteX94" fmla="*/ 1530287 w 5795867"/>
              <a:gd name="connsiteY94" fmla="*/ 2529763 h 4798903"/>
              <a:gd name="connsiteX95" fmla="*/ 1472184 w 5795867"/>
              <a:gd name="connsiteY95" fmla="*/ 2570435 h 4798903"/>
              <a:gd name="connsiteX96" fmla="*/ 1443133 w 5795867"/>
              <a:gd name="connsiteY96" fmla="*/ 2590818 h 4798903"/>
              <a:gd name="connsiteX97" fmla="*/ 1414748 w 5795867"/>
              <a:gd name="connsiteY97" fmla="*/ 2612154 h 4798903"/>
              <a:gd name="connsiteX98" fmla="*/ 1358265 w 5795867"/>
              <a:gd name="connsiteY98" fmla="*/ 2655112 h 4798903"/>
              <a:gd name="connsiteX99" fmla="*/ 1329976 w 5795867"/>
              <a:gd name="connsiteY99" fmla="*/ 2676638 h 4798903"/>
              <a:gd name="connsiteX100" fmla="*/ 1315879 w 5795867"/>
              <a:gd name="connsiteY100" fmla="*/ 2687402 h 4798903"/>
              <a:gd name="connsiteX101" fmla="*/ 1302163 w 5795867"/>
              <a:gd name="connsiteY101" fmla="*/ 2698641 h 4798903"/>
              <a:gd name="connsiteX102" fmla="*/ 1247394 w 5795867"/>
              <a:gd name="connsiteY102" fmla="*/ 2743789 h 4798903"/>
              <a:gd name="connsiteX103" fmla="*/ 838771 w 5795867"/>
              <a:gd name="connsiteY103" fmla="*/ 3137553 h 4798903"/>
              <a:gd name="connsiteX104" fmla="*/ 494157 w 5795867"/>
              <a:gd name="connsiteY104" fmla="*/ 3588371 h 4798903"/>
              <a:gd name="connsiteX105" fmla="*/ 223171 w 5795867"/>
              <a:gd name="connsiteY105" fmla="*/ 4087005 h 4798903"/>
              <a:gd name="connsiteX106" fmla="*/ 204311 w 5795867"/>
              <a:gd name="connsiteY106" fmla="*/ 4129391 h 4798903"/>
              <a:gd name="connsiteX107" fmla="*/ 151924 w 5795867"/>
              <a:gd name="connsiteY107" fmla="*/ 4258264 h 4798903"/>
              <a:gd name="connsiteX108" fmla="*/ 115729 w 5795867"/>
              <a:gd name="connsiteY108" fmla="*/ 4356086 h 4798903"/>
              <a:gd name="connsiteX109" fmla="*/ 76010 w 5795867"/>
              <a:gd name="connsiteY109" fmla="*/ 4477339 h 4798903"/>
              <a:gd name="connsiteX110" fmla="*/ 35528 w 5795867"/>
              <a:gd name="connsiteY110" fmla="*/ 4622596 h 4798903"/>
              <a:gd name="connsiteX111" fmla="*/ 0 w 5795867"/>
              <a:gd name="connsiteY111" fmla="*/ 4793951 h 4798903"/>
              <a:gd name="connsiteX112" fmla="*/ 9430 w 5795867"/>
              <a:gd name="connsiteY112" fmla="*/ 4795189 h 4798903"/>
              <a:gd name="connsiteX113" fmla="*/ 18860 w 5795867"/>
              <a:gd name="connsiteY113" fmla="*/ 4796427 h 4798903"/>
              <a:gd name="connsiteX114" fmla="*/ 28289 w 5795867"/>
              <a:gd name="connsiteY114" fmla="*/ 4797665 h 4798903"/>
              <a:gd name="connsiteX115" fmla="*/ 37719 w 5795867"/>
              <a:gd name="connsiteY115" fmla="*/ 4798904 h 4798903"/>
              <a:gd name="connsiteX116" fmla="*/ 72485 w 5795867"/>
              <a:gd name="connsiteY116" fmla="*/ 4631740 h 4798903"/>
              <a:gd name="connsiteX117" fmla="*/ 112490 w 5795867"/>
              <a:gd name="connsiteY117" fmla="*/ 4488389 h 4798903"/>
              <a:gd name="connsiteX118" fmla="*/ 151733 w 5795867"/>
              <a:gd name="connsiteY118" fmla="*/ 4368564 h 4798903"/>
              <a:gd name="connsiteX119" fmla="*/ 187452 w 5795867"/>
              <a:gd name="connsiteY119" fmla="*/ 4271790 h 4798903"/>
              <a:gd name="connsiteX120" fmla="*/ 239268 w 5795867"/>
              <a:gd name="connsiteY120" fmla="*/ 4144345 h 4798903"/>
              <a:gd name="connsiteX121" fmla="*/ 257937 w 5795867"/>
              <a:gd name="connsiteY121" fmla="*/ 4102435 h 4798903"/>
              <a:gd name="connsiteX122" fmla="*/ 526066 w 5795867"/>
              <a:gd name="connsiteY122" fmla="*/ 3608945 h 4798903"/>
              <a:gd name="connsiteX123" fmla="*/ 867156 w 5795867"/>
              <a:gd name="connsiteY123" fmla="*/ 3162699 h 4798903"/>
              <a:gd name="connsiteX124" fmla="*/ 1271683 w 5795867"/>
              <a:gd name="connsiteY124" fmla="*/ 2772936 h 4798903"/>
              <a:gd name="connsiteX125" fmla="*/ 1325975 w 5795867"/>
              <a:gd name="connsiteY125" fmla="*/ 2728264 h 4798903"/>
              <a:gd name="connsiteX126" fmla="*/ 1339501 w 5795867"/>
              <a:gd name="connsiteY126" fmla="*/ 2717119 h 4798903"/>
              <a:gd name="connsiteX127" fmla="*/ 1353503 w 5795867"/>
              <a:gd name="connsiteY127" fmla="*/ 2706452 h 4798903"/>
              <a:gd name="connsiteX128" fmla="*/ 1381506 w 5795867"/>
              <a:gd name="connsiteY128" fmla="*/ 2685211 h 4798903"/>
              <a:gd name="connsiteX129" fmla="*/ 1437418 w 5795867"/>
              <a:gd name="connsiteY129" fmla="*/ 2642634 h 4798903"/>
              <a:gd name="connsiteX130" fmla="*/ 1465517 w 5795867"/>
              <a:gd name="connsiteY130" fmla="*/ 2621488 h 4798903"/>
              <a:gd name="connsiteX131" fmla="*/ 1494282 w 5795867"/>
              <a:gd name="connsiteY131" fmla="*/ 2601295 h 4798903"/>
              <a:gd name="connsiteX132" fmla="*/ 1551908 w 5795867"/>
              <a:gd name="connsiteY132" fmla="*/ 2561005 h 4798903"/>
              <a:gd name="connsiteX133" fmla="*/ 1610011 w 5795867"/>
              <a:gd name="connsiteY133" fmla="*/ 2521381 h 4798903"/>
              <a:gd name="connsiteX134" fmla="*/ 1721358 w 5795867"/>
              <a:gd name="connsiteY134" fmla="*/ 2449848 h 4798903"/>
              <a:gd name="connsiteX135" fmla="*/ 1721358 w 5795867"/>
              <a:gd name="connsiteY135" fmla="*/ 2449848 h 4798903"/>
              <a:gd name="connsiteX136" fmla="*/ 1721358 w 5795867"/>
              <a:gd name="connsiteY136" fmla="*/ 2449848 h 4798903"/>
              <a:gd name="connsiteX137" fmla="*/ 1722311 w 5795867"/>
              <a:gd name="connsiteY137" fmla="*/ 2450134 h 4798903"/>
              <a:gd name="connsiteX138" fmla="*/ 1731550 w 5795867"/>
              <a:gd name="connsiteY138" fmla="*/ 2452896 h 4798903"/>
              <a:gd name="connsiteX139" fmla="*/ 1815751 w 5795867"/>
              <a:gd name="connsiteY139" fmla="*/ 2477470 h 4798903"/>
              <a:gd name="connsiteX140" fmla="*/ 1900238 w 5795867"/>
              <a:gd name="connsiteY140" fmla="*/ 2500902 h 4798903"/>
              <a:gd name="connsiteX141" fmla="*/ 1985105 w 5795867"/>
              <a:gd name="connsiteY141" fmla="*/ 2523095 h 4798903"/>
              <a:gd name="connsiteX142" fmla="*/ 2070259 w 5795867"/>
              <a:gd name="connsiteY142" fmla="*/ 2544050 h 4798903"/>
              <a:gd name="connsiteX143" fmla="*/ 2155793 w 5795867"/>
              <a:gd name="connsiteY143" fmla="*/ 2563767 h 4798903"/>
              <a:gd name="connsiteX144" fmla="*/ 2241614 w 5795867"/>
              <a:gd name="connsiteY144" fmla="*/ 2582150 h 4798903"/>
              <a:gd name="connsiteX145" fmla="*/ 2284571 w 5795867"/>
              <a:gd name="connsiteY145" fmla="*/ 2591009 h 4798903"/>
              <a:gd name="connsiteX146" fmla="*/ 2327720 w 5795867"/>
              <a:gd name="connsiteY146" fmla="*/ 2599200 h 4798903"/>
              <a:gd name="connsiteX147" fmla="*/ 2414111 w 5795867"/>
              <a:gd name="connsiteY147" fmla="*/ 2614916 h 4798903"/>
              <a:gd name="connsiteX148" fmla="*/ 2500694 w 5795867"/>
              <a:gd name="connsiteY148" fmla="*/ 2629109 h 4798903"/>
              <a:gd name="connsiteX149" fmla="*/ 2587562 w 5795867"/>
              <a:gd name="connsiteY149" fmla="*/ 2641872 h 4798903"/>
              <a:gd name="connsiteX150" fmla="*/ 2674620 w 5795867"/>
              <a:gd name="connsiteY150" fmla="*/ 2653016 h 4798903"/>
              <a:gd name="connsiteX151" fmla="*/ 2761964 w 5795867"/>
              <a:gd name="connsiteY151" fmla="*/ 2662446 h 4798903"/>
              <a:gd name="connsiteX152" fmla="*/ 2849499 w 5795867"/>
              <a:gd name="connsiteY152" fmla="*/ 2670161 h 4798903"/>
              <a:gd name="connsiteX153" fmla="*/ 2937129 w 5795867"/>
              <a:gd name="connsiteY153" fmla="*/ 2676067 h 4798903"/>
              <a:gd name="connsiteX154" fmla="*/ 3112770 w 5795867"/>
              <a:gd name="connsiteY154" fmla="*/ 2682163 h 4798903"/>
              <a:gd name="connsiteX155" fmla="*/ 3171920 w 5795867"/>
              <a:gd name="connsiteY155" fmla="*/ 2682163 h 4798903"/>
              <a:gd name="connsiteX156" fmla="*/ 3231071 w 5795867"/>
              <a:gd name="connsiteY156" fmla="*/ 2681115 h 4798903"/>
              <a:gd name="connsiteX157" fmla="*/ 3290221 w 5795867"/>
              <a:gd name="connsiteY157" fmla="*/ 2679019 h 4798903"/>
              <a:gd name="connsiteX158" fmla="*/ 3349371 w 5795867"/>
              <a:gd name="connsiteY158" fmla="*/ 2675781 h 4798903"/>
              <a:gd name="connsiteX159" fmla="*/ 3408426 w 5795867"/>
              <a:gd name="connsiteY159" fmla="*/ 2671400 h 4798903"/>
              <a:gd name="connsiteX160" fmla="*/ 3467386 w 5795867"/>
              <a:gd name="connsiteY160" fmla="*/ 2665780 h 4798903"/>
              <a:gd name="connsiteX161" fmla="*/ 3585020 w 5795867"/>
              <a:gd name="connsiteY161" fmla="*/ 2650349 h 4798903"/>
              <a:gd name="connsiteX162" fmla="*/ 3701796 w 5795867"/>
              <a:gd name="connsiteY162" fmla="*/ 2628823 h 4798903"/>
              <a:gd name="connsiteX163" fmla="*/ 3817239 w 5795867"/>
              <a:gd name="connsiteY163" fmla="*/ 2600343 h 4798903"/>
              <a:gd name="connsiteX164" fmla="*/ 3930587 w 5795867"/>
              <a:gd name="connsiteY164" fmla="*/ 2563958 h 4798903"/>
              <a:gd name="connsiteX165" fmla="*/ 3958590 w 5795867"/>
              <a:gd name="connsiteY165" fmla="*/ 2553670 h 4798903"/>
              <a:gd name="connsiteX166" fmla="*/ 3986213 w 5795867"/>
              <a:gd name="connsiteY166" fmla="*/ 2542431 h 4798903"/>
              <a:gd name="connsiteX167" fmla="*/ 4013740 w 5795867"/>
              <a:gd name="connsiteY167" fmla="*/ 2530906 h 4798903"/>
              <a:gd name="connsiteX168" fmla="*/ 4040886 w 5795867"/>
              <a:gd name="connsiteY168" fmla="*/ 2518523 h 4798903"/>
              <a:gd name="connsiteX169" fmla="*/ 4094512 w 5795867"/>
              <a:gd name="connsiteY169" fmla="*/ 2492044 h 4798903"/>
              <a:gd name="connsiteX170" fmla="*/ 4146709 w 5795867"/>
              <a:gd name="connsiteY170" fmla="*/ 2462802 h 4798903"/>
              <a:gd name="connsiteX171" fmla="*/ 4245579 w 5795867"/>
              <a:gd name="connsiteY171" fmla="*/ 2394889 h 4798903"/>
              <a:gd name="connsiteX172" fmla="*/ 4335018 w 5795867"/>
              <a:gd name="connsiteY172" fmla="*/ 2314498 h 4798903"/>
              <a:gd name="connsiteX173" fmla="*/ 4374928 w 5795867"/>
              <a:gd name="connsiteY173" fmla="*/ 2269254 h 4798903"/>
              <a:gd name="connsiteX174" fmla="*/ 4393692 w 5795867"/>
              <a:gd name="connsiteY174" fmla="*/ 2245632 h 4798903"/>
              <a:gd name="connsiteX175" fmla="*/ 4411313 w 5795867"/>
              <a:gd name="connsiteY175" fmla="*/ 2221057 h 4798903"/>
              <a:gd name="connsiteX176" fmla="*/ 4427792 w 5795867"/>
              <a:gd name="connsiteY176" fmla="*/ 2195721 h 4798903"/>
              <a:gd name="connsiteX177" fmla="*/ 4443508 w 5795867"/>
              <a:gd name="connsiteY177" fmla="*/ 2169908 h 4798903"/>
              <a:gd name="connsiteX178" fmla="*/ 4471035 w 5795867"/>
              <a:gd name="connsiteY178" fmla="*/ 2116092 h 4798903"/>
              <a:gd name="connsiteX179" fmla="*/ 4512374 w 5795867"/>
              <a:gd name="connsiteY179" fmla="*/ 2002649 h 4798903"/>
              <a:gd name="connsiteX180" fmla="*/ 4539996 w 5795867"/>
              <a:gd name="connsiteY180" fmla="*/ 1764238 h 4798903"/>
              <a:gd name="connsiteX181" fmla="*/ 4538091 w 5795867"/>
              <a:gd name="connsiteY181" fmla="*/ 1725186 h 4798903"/>
              <a:gd name="connsiteX182" fmla="*/ 4534948 w 5795867"/>
              <a:gd name="connsiteY182" fmla="*/ 1686324 h 4798903"/>
              <a:gd name="connsiteX183" fmla="*/ 4524852 w 5795867"/>
              <a:gd name="connsiteY183" fmla="*/ 1609076 h 4798903"/>
              <a:gd name="connsiteX184" fmla="*/ 4490276 w 5795867"/>
              <a:gd name="connsiteY184" fmla="*/ 1457629 h 4798903"/>
              <a:gd name="connsiteX185" fmla="*/ 4479417 w 5795867"/>
              <a:gd name="connsiteY185" fmla="*/ 1420386 h 4798903"/>
              <a:gd name="connsiteX186" fmla="*/ 4467225 w 5795867"/>
              <a:gd name="connsiteY186" fmla="*/ 1383619 h 4798903"/>
              <a:gd name="connsiteX187" fmla="*/ 4441031 w 5795867"/>
              <a:gd name="connsiteY187" fmla="*/ 1310753 h 4798903"/>
              <a:gd name="connsiteX188" fmla="*/ 4411980 w 5795867"/>
              <a:gd name="connsiteY188" fmla="*/ 1239030 h 4798903"/>
              <a:gd name="connsiteX189" fmla="*/ 4380357 w 5795867"/>
              <a:gd name="connsiteY189" fmla="*/ 1168450 h 4798903"/>
              <a:gd name="connsiteX190" fmla="*/ 4380357 w 5795867"/>
              <a:gd name="connsiteY190" fmla="*/ 1168259 h 4798903"/>
              <a:gd name="connsiteX191" fmla="*/ 4366165 w 5795867"/>
              <a:gd name="connsiteY191" fmla="*/ 1136827 h 4798903"/>
              <a:gd name="connsiteX192" fmla="*/ 4352068 w 5795867"/>
              <a:gd name="connsiteY192" fmla="*/ 1105394 h 4798903"/>
              <a:gd name="connsiteX193" fmla="*/ 4325874 w 5795867"/>
              <a:gd name="connsiteY193" fmla="*/ 1041767 h 4798903"/>
              <a:gd name="connsiteX194" fmla="*/ 4302157 w 5795867"/>
              <a:gd name="connsiteY194" fmla="*/ 977378 h 4798903"/>
              <a:gd name="connsiteX195" fmla="*/ 4281202 w 5795867"/>
              <a:gd name="connsiteY195" fmla="*/ 912132 h 4798903"/>
              <a:gd name="connsiteX196" fmla="*/ 4263581 w 5795867"/>
              <a:gd name="connsiteY196" fmla="*/ 846028 h 4798903"/>
              <a:gd name="connsiteX197" fmla="*/ 4256437 w 5795867"/>
              <a:gd name="connsiteY197" fmla="*/ 812691 h 4798903"/>
              <a:gd name="connsiteX198" fmla="*/ 4252818 w 5795867"/>
              <a:gd name="connsiteY198" fmla="*/ 796022 h 4798903"/>
              <a:gd name="connsiteX199" fmla="*/ 4250055 w 5795867"/>
              <a:gd name="connsiteY199" fmla="*/ 779258 h 4798903"/>
              <a:gd name="connsiteX200" fmla="*/ 4244626 w 5795867"/>
              <a:gd name="connsiteY200" fmla="*/ 745635 h 4798903"/>
              <a:gd name="connsiteX201" fmla="*/ 4241006 w 5795867"/>
              <a:gd name="connsiteY201" fmla="*/ 711821 h 4798903"/>
              <a:gd name="connsiteX202" fmla="*/ 4237006 w 5795867"/>
              <a:gd name="connsiteY202" fmla="*/ 644194 h 4798903"/>
              <a:gd name="connsiteX203" fmla="*/ 4237673 w 5795867"/>
              <a:gd name="connsiteY203" fmla="*/ 616190 h 4798903"/>
              <a:gd name="connsiteX204" fmla="*/ 4239102 w 5795867"/>
              <a:gd name="connsiteY204" fmla="*/ 588282 h 4798903"/>
              <a:gd name="connsiteX205" fmla="*/ 4241769 w 5795867"/>
              <a:gd name="connsiteY205" fmla="*/ 560469 h 4798903"/>
              <a:gd name="connsiteX206" fmla="*/ 4246055 w 5795867"/>
              <a:gd name="connsiteY206" fmla="*/ 532942 h 4798903"/>
              <a:gd name="connsiteX207" fmla="*/ 4258056 w 5795867"/>
              <a:gd name="connsiteY207" fmla="*/ 478649 h 4798903"/>
              <a:gd name="connsiteX208" fmla="*/ 4266629 w 5795867"/>
              <a:gd name="connsiteY208" fmla="*/ 452265 h 4798903"/>
              <a:gd name="connsiteX209" fmla="*/ 4271105 w 5795867"/>
              <a:gd name="connsiteY209" fmla="*/ 439120 h 4798903"/>
              <a:gd name="connsiteX210" fmla="*/ 4276535 w 5795867"/>
              <a:gd name="connsiteY210" fmla="*/ 426357 h 4798903"/>
              <a:gd name="connsiteX211" fmla="*/ 4330732 w 5795867"/>
              <a:gd name="connsiteY211" fmla="*/ 330154 h 4798903"/>
              <a:gd name="connsiteX212" fmla="*/ 4365879 w 5795867"/>
              <a:gd name="connsiteY212" fmla="*/ 287292 h 4798903"/>
              <a:gd name="connsiteX213" fmla="*/ 4406170 w 5795867"/>
              <a:gd name="connsiteY213" fmla="*/ 249001 h 4798903"/>
              <a:gd name="connsiteX214" fmla="*/ 4449985 w 5795867"/>
              <a:gd name="connsiteY214" fmla="*/ 214521 h 4798903"/>
              <a:gd name="connsiteX215" fmla="*/ 4497229 w 5795867"/>
              <a:gd name="connsiteY215" fmla="*/ 184422 h 4798903"/>
              <a:gd name="connsiteX216" fmla="*/ 4546759 w 5795867"/>
              <a:gd name="connsiteY216" fmla="*/ 157847 h 4798903"/>
              <a:gd name="connsiteX217" fmla="*/ 4598385 w 5795867"/>
              <a:gd name="connsiteY217" fmla="*/ 135082 h 4798903"/>
              <a:gd name="connsiteX218" fmla="*/ 4816031 w 5795867"/>
              <a:gd name="connsiteY218" fmla="*/ 72122 h 4798903"/>
              <a:gd name="connsiteX219" fmla="*/ 5152644 w 5795867"/>
              <a:gd name="connsiteY219" fmla="*/ 38308 h 4798903"/>
              <a:gd name="connsiteX220" fmla="*/ 5192554 w 5795867"/>
              <a:gd name="connsiteY220" fmla="*/ 37642 h 4798903"/>
              <a:gd name="connsiteX221" fmla="*/ 5312283 w 5795867"/>
              <a:gd name="connsiteY221" fmla="*/ 38975 h 4798903"/>
              <a:gd name="connsiteX222" fmla="*/ 5511641 w 5795867"/>
              <a:gd name="connsiteY222" fmla="*/ 51167 h 4798903"/>
              <a:gd name="connsiteX223" fmla="*/ 5788533 w 5795867"/>
              <a:gd name="connsiteY223" fmla="*/ 87362 h 47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5795867" h="4798903">
                <a:moveTo>
                  <a:pt x="5788629" y="87743"/>
                </a:moveTo>
                <a:lnTo>
                  <a:pt x="5790438" y="78409"/>
                </a:lnTo>
                <a:lnTo>
                  <a:pt x="5792248" y="69074"/>
                </a:lnTo>
                <a:lnTo>
                  <a:pt x="5794058" y="59740"/>
                </a:lnTo>
                <a:lnTo>
                  <a:pt x="5795868" y="50405"/>
                </a:lnTo>
                <a:cubicBezTo>
                  <a:pt x="5689092" y="31450"/>
                  <a:pt x="5595747" y="21163"/>
                  <a:pt x="5515261" y="13734"/>
                </a:cubicBezTo>
                <a:cubicBezTo>
                  <a:pt x="5434775" y="6590"/>
                  <a:pt x="5367528" y="3066"/>
                  <a:pt x="5313712" y="1447"/>
                </a:cubicBezTo>
                <a:cubicBezTo>
                  <a:pt x="5259896" y="-268"/>
                  <a:pt x="5219414" y="18"/>
                  <a:pt x="5192459" y="18"/>
                </a:cubicBezTo>
                <a:lnTo>
                  <a:pt x="5151977" y="685"/>
                </a:lnTo>
                <a:cubicBezTo>
                  <a:pt x="5037296" y="3542"/>
                  <a:pt x="4922330" y="13258"/>
                  <a:pt x="4808982" y="35165"/>
                </a:cubicBezTo>
                <a:cubicBezTo>
                  <a:pt x="4732687" y="50405"/>
                  <a:pt x="4656868" y="70408"/>
                  <a:pt x="4584287" y="100221"/>
                </a:cubicBezTo>
                <a:cubicBezTo>
                  <a:pt x="4565999" y="107269"/>
                  <a:pt x="4548283" y="115842"/>
                  <a:pt x="4530376" y="123938"/>
                </a:cubicBezTo>
                <a:cubicBezTo>
                  <a:pt x="4512945" y="133082"/>
                  <a:pt x="4495134" y="141464"/>
                  <a:pt x="4478370" y="151942"/>
                </a:cubicBezTo>
                <a:cubicBezTo>
                  <a:pt x="4461129" y="161562"/>
                  <a:pt x="4444841" y="172801"/>
                  <a:pt x="4428363" y="183755"/>
                </a:cubicBezTo>
                <a:cubicBezTo>
                  <a:pt x="4412552" y="195661"/>
                  <a:pt x="4396359" y="207091"/>
                  <a:pt x="4381596" y="220522"/>
                </a:cubicBezTo>
                <a:cubicBezTo>
                  <a:pt x="4366165" y="233095"/>
                  <a:pt x="4352449" y="247573"/>
                  <a:pt x="4338352" y="261670"/>
                </a:cubicBezTo>
                <a:cubicBezTo>
                  <a:pt x="4325303" y="276719"/>
                  <a:pt x="4311872" y="291483"/>
                  <a:pt x="4300347" y="307866"/>
                </a:cubicBezTo>
                <a:cubicBezTo>
                  <a:pt x="4276725" y="339965"/>
                  <a:pt x="4256437" y="374922"/>
                  <a:pt x="4241673" y="411974"/>
                </a:cubicBezTo>
                <a:lnTo>
                  <a:pt x="4235863" y="425785"/>
                </a:lnTo>
                <a:cubicBezTo>
                  <a:pt x="4234148" y="430453"/>
                  <a:pt x="4232624" y="435215"/>
                  <a:pt x="4231005" y="439978"/>
                </a:cubicBezTo>
                <a:cubicBezTo>
                  <a:pt x="4227957" y="449503"/>
                  <a:pt x="4224528" y="458837"/>
                  <a:pt x="4221766" y="468362"/>
                </a:cubicBezTo>
                <a:cubicBezTo>
                  <a:pt x="4217099" y="487698"/>
                  <a:pt x="4211479" y="506843"/>
                  <a:pt x="4208812" y="526560"/>
                </a:cubicBezTo>
                <a:cubicBezTo>
                  <a:pt x="4207288" y="536371"/>
                  <a:pt x="4205193" y="546086"/>
                  <a:pt x="4204240" y="555992"/>
                </a:cubicBezTo>
                <a:lnTo>
                  <a:pt x="4201478" y="585520"/>
                </a:lnTo>
                <a:cubicBezTo>
                  <a:pt x="4200239" y="595330"/>
                  <a:pt x="4200239" y="605236"/>
                  <a:pt x="4199954" y="615142"/>
                </a:cubicBezTo>
                <a:lnTo>
                  <a:pt x="4199192" y="644765"/>
                </a:lnTo>
                <a:cubicBezTo>
                  <a:pt x="4200430" y="668387"/>
                  <a:pt x="4200239" y="692295"/>
                  <a:pt x="4203287" y="715726"/>
                </a:cubicBezTo>
                <a:cubicBezTo>
                  <a:pt x="4204526" y="727442"/>
                  <a:pt x="4205478" y="739253"/>
                  <a:pt x="4207097" y="750969"/>
                </a:cubicBezTo>
                <a:lnTo>
                  <a:pt x="4212717" y="785926"/>
                </a:lnTo>
                <a:lnTo>
                  <a:pt x="4215575" y="803356"/>
                </a:lnTo>
                <a:lnTo>
                  <a:pt x="4219289" y="820597"/>
                </a:lnTo>
                <a:lnTo>
                  <a:pt x="4226719" y="855077"/>
                </a:lnTo>
                <a:cubicBezTo>
                  <a:pt x="4232339" y="877842"/>
                  <a:pt x="4238530" y="900511"/>
                  <a:pt x="4244816" y="923181"/>
                </a:cubicBezTo>
                <a:cubicBezTo>
                  <a:pt x="4252055" y="945469"/>
                  <a:pt x="4258628" y="968044"/>
                  <a:pt x="4266343" y="990142"/>
                </a:cubicBezTo>
                <a:cubicBezTo>
                  <a:pt x="4274439" y="1012049"/>
                  <a:pt x="4281964" y="1034242"/>
                  <a:pt x="4290632" y="1055959"/>
                </a:cubicBezTo>
                <a:cubicBezTo>
                  <a:pt x="4299585" y="1077581"/>
                  <a:pt x="4308062" y="1099393"/>
                  <a:pt x="4317302" y="1120825"/>
                </a:cubicBezTo>
                <a:lnTo>
                  <a:pt x="4331685" y="1152733"/>
                </a:lnTo>
                <a:lnTo>
                  <a:pt x="4346067" y="1184642"/>
                </a:lnTo>
                <a:lnTo>
                  <a:pt x="4346067" y="1184833"/>
                </a:lnTo>
                <a:cubicBezTo>
                  <a:pt x="4356545" y="1207978"/>
                  <a:pt x="4366832" y="1231029"/>
                  <a:pt x="4377214" y="1254175"/>
                </a:cubicBezTo>
                <a:cubicBezTo>
                  <a:pt x="4386644" y="1277606"/>
                  <a:pt x="4396836" y="1300847"/>
                  <a:pt x="4405694" y="1324564"/>
                </a:cubicBezTo>
                <a:cubicBezTo>
                  <a:pt x="4414266" y="1348377"/>
                  <a:pt x="4423887" y="1371808"/>
                  <a:pt x="4431316" y="1395907"/>
                </a:cubicBezTo>
                <a:lnTo>
                  <a:pt x="4443222" y="1431911"/>
                </a:lnTo>
                <a:cubicBezTo>
                  <a:pt x="4447032" y="1443913"/>
                  <a:pt x="4450271" y="1456105"/>
                  <a:pt x="4453795" y="1468297"/>
                </a:cubicBezTo>
                <a:cubicBezTo>
                  <a:pt x="4468082" y="1516779"/>
                  <a:pt x="4478751" y="1566023"/>
                  <a:pt x="4487418" y="1615553"/>
                </a:cubicBezTo>
                <a:cubicBezTo>
                  <a:pt x="4491133" y="1640413"/>
                  <a:pt x="4495229" y="1665274"/>
                  <a:pt x="4497134" y="1690229"/>
                </a:cubicBezTo>
                <a:cubicBezTo>
                  <a:pt x="4498372" y="1702707"/>
                  <a:pt x="4499896" y="1715185"/>
                  <a:pt x="4500182" y="1727758"/>
                </a:cubicBezTo>
                <a:lnTo>
                  <a:pt x="4501991" y="1765286"/>
                </a:lnTo>
                <a:cubicBezTo>
                  <a:pt x="4503420" y="1842153"/>
                  <a:pt x="4495324" y="1919020"/>
                  <a:pt x="4475703" y="1992934"/>
                </a:cubicBezTo>
                <a:cubicBezTo>
                  <a:pt x="4465130" y="2029605"/>
                  <a:pt x="4453033" y="2065990"/>
                  <a:pt x="4436555" y="2100376"/>
                </a:cubicBezTo>
                <a:cubicBezTo>
                  <a:pt x="4429030" y="2117902"/>
                  <a:pt x="4419505" y="2134475"/>
                  <a:pt x="4410552" y="2151335"/>
                </a:cubicBezTo>
                <a:cubicBezTo>
                  <a:pt x="4406170" y="2159812"/>
                  <a:pt x="4400646" y="2167622"/>
                  <a:pt x="4395693" y="2175814"/>
                </a:cubicBezTo>
                <a:cubicBezTo>
                  <a:pt x="4390549" y="2183815"/>
                  <a:pt x="4385882" y="2192197"/>
                  <a:pt x="4380071" y="2199817"/>
                </a:cubicBezTo>
                <a:lnTo>
                  <a:pt x="4363403" y="2223058"/>
                </a:lnTo>
                <a:cubicBezTo>
                  <a:pt x="4357878" y="2230868"/>
                  <a:pt x="4351496" y="2238012"/>
                  <a:pt x="4345591" y="2245441"/>
                </a:cubicBezTo>
                <a:cubicBezTo>
                  <a:pt x="4333971" y="2260586"/>
                  <a:pt x="4320540" y="2274302"/>
                  <a:pt x="4307681" y="2288494"/>
                </a:cubicBezTo>
                <a:cubicBezTo>
                  <a:pt x="4280916" y="2315831"/>
                  <a:pt x="4252818" y="2341930"/>
                  <a:pt x="4222242" y="2365266"/>
                </a:cubicBezTo>
                <a:cubicBezTo>
                  <a:pt x="4192334" y="2389364"/>
                  <a:pt x="4159949" y="2410224"/>
                  <a:pt x="4127278" y="2430512"/>
                </a:cubicBezTo>
                <a:cubicBezTo>
                  <a:pt x="4110514" y="2440037"/>
                  <a:pt x="4093940" y="2449848"/>
                  <a:pt x="4076891" y="2458802"/>
                </a:cubicBezTo>
                <a:cubicBezTo>
                  <a:pt x="4059651" y="2467374"/>
                  <a:pt x="4042696" y="2476709"/>
                  <a:pt x="4024979" y="2484424"/>
                </a:cubicBezTo>
                <a:lnTo>
                  <a:pt x="3998595" y="2496520"/>
                </a:lnTo>
                <a:cubicBezTo>
                  <a:pt x="3989832" y="2500521"/>
                  <a:pt x="3980784" y="2503950"/>
                  <a:pt x="3971830" y="2507665"/>
                </a:cubicBezTo>
                <a:lnTo>
                  <a:pt x="3944969" y="2518619"/>
                </a:lnTo>
                <a:lnTo>
                  <a:pt x="3917728" y="2528620"/>
                </a:lnTo>
                <a:cubicBezTo>
                  <a:pt x="3881438" y="2542050"/>
                  <a:pt x="3844385" y="2553575"/>
                  <a:pt x="3807047" y="2564148"/>
                </a:cubicBezTo>
                <a:cubicBezTo>
                  <a:pt x="3769709" y="2574721"/>
                  <a:pt x="3731990" y="2583865"/>
                  <a:pt x="3693986" y="2592056"/>
                </a:cubicBezTo>
                <a:cubicBezTo>
                  <a:pt x="3655981" y="2600152"/>
                  <a:pt x="3617690" y="2607106"/>
                  <a:pt x="3579305" y="2613202"/>
                </a:cubicBezTo>
                <a:cubicBezTo>
                  <a:pt x="3540824" y="2619107"/>
                  <a:pt x="3502247" y="2624251"/>
                  <a:pt x="3463576" y="2628346"/>
                </a:cubicBezTo>
                <a:cubicBezTo>
                  <a:pt x="3444240" y="2630728"/>
                  <a:pt x="3424809" y="2632156"/>
                  <a:pt x="3405378" y="2633871"/>
                </a:cubicBezTo>
                <a:cubicBezTo>
                  <a:pt x="3385947" y="2635776"/>
                  <a:pt x="3366516" y="2637014"/>
                  <a:pt x="3347085" y="2638157"/>
                </a:cubicBezTo>
                <a:cubicBezTo>
                  <a:pt x="3327654" y="2639491"/>
                  <a:pt x="3308223" y="2640634"/>
                  <a:pt x="3288697" y="2641301"/>
                </a:cubicBezTo>
                <a:cubicBezTo>
                  <a:pt x="3269171" y="2642062"/>
                  <a:pt x="3249740" y="2643110"/>
                  <a:pt x="3230213" y="2643301"/>
                </a:cubicBezTo>
                <a:cubicBezTo>
                  <a:pt x="3210687" y="2643586"/>
                  <a:pt x="3191256" y="2644349"/>
                  <a:pt x="3171730" y="2644253"/>
                </a:cubicBezTo>
                <a:lnTo>
                  <a:pt x="3113246" y="2644253"/>
                </a:lnTo>
                <a:cubicBezTo>
                  <a:pt x="3055239" y="2643301"/>
                  <a:pt x="2997232" y="2641777"/>
                  <a:pt x="2939320" y="2638252"/>
                </a:cubicBezTo>
                <a:cubicBezTo>
                  <a:pt x="2910364" y="2636824"/>
                  <a:pt x="2881408" y="2634728"/>
                  <a:pt x="2852452" y="2632442"/>
                </a:cubicBezTo>
                <a:cubicBezTo>
                  <a:pt x="2823496" y="2630537"/>
                  <a:pt x="2794635" y="2627394"/>
                  <a:pt x="2765679" y="2624822"/>
                </a:cubicBezTo>
                <a:cubicBezTo>
                  <a:pt x="2736818" y="2622060"/>
                  <a:pt x="2707958" y="2618631"/>
                  <a:pt x="2679097" y="2615488"/>
                </a:cubicBezTo>
                <a:cubicBezTo>
                  <a:pt x="2650331" y="2611773"/>
                  <a:pt x="2621471" y="2608344"/>
                  <a:pt x="2592705" y="2604344"/>
                </a:cubicBezTo>
                <a:cubicBezTo>
                  <a:pt x="2563940" y="2600057"/>
                  <a:pt x="2535174" y="2596438"/>
                  <a:pt x="2506504" y="2591675"/>
                </a:cubicBezTo>
                <a:cubicBezTo>
                  <a:pt x="2477834" y="2587103"/>
                  <a:pt x="2449068" y="2582722"/>
                  <a:pt x="2420493" y="2577578"/>
                </a:cubicBezTo>
                <a:cubicBezTo>
                  <a:pt x="2391918" y="2572625"/>
                  <a:pt x="2363248" y="2567672"/>
                  <a:pt x="2334768" y="2562052"/>
                </a:cubicBezTo>
                <a:lnTo>
                  <a:pt x="2292001" y="2553861"/>
                </a:lnTo>
                <a:lnTo>
                  <a:pt x="2249329" y="2545098"/>
                </a:lnTo>
                <a:cubicBezTo>
                  <a:pt x="2220849" y="2539383"/>
                  <a:pt x="2192465" y="2533192"/>
                  <a:pt x="2164080" y="2526810"/>
                </a:cubicBezTo>
                <a:cubicBezTo>
                  <a:pt x="2135696" y="2520714"/>
                  <a:pt x="2107406" y="2513951"/>
                  <a:pt x="2079117" y="2507188"/>
                </a:cubicBezTo>
                <a:cubicBezTo>
                  <a:pt x="2050828" y="2500711"/>
                  <a:pt x="2022634" y="2493377"/>
                  <a:pt x="1994440" y="2486329"/>
                </a:cubicBezTo>
                <a:cubicBezTo>
                  <a:pt x="1966246" y="2479471"/>
                  <a:pt x="1938242" y="2471660"/>
                  <a:pt x="1910144" y="2464231"/>
                </a:cubicBezTo>
                <a:cubicBezTo>
                  <a:pt x="1882045" y="2456992"/>
                  <a:pt x="1854137" y="2448705"/>
                  <a:pt x="1826133" y="2440894"/>
                </a:cubicBezTo>
                <a:cubicBezTo>
                  <a:pt x="1798130" y="2433179"/>
                  <a:pt x="1770317" y="2424511"/>
                  <a:pt x="1742408" y="2416415"/>
                </a:cubicBezTo>
                <a:lnTo>
                  <a:pt x="1715738" y="2408510"/>
                </a:lnTo>
                <a:lnTo>
                  <a:pt x="1715453" y="2408510"/>
                </a:lnTo>
                <a:cubicBezTo>
                  <a:pt x="1715453" y="2408510"/>
                  <a:pt x="1715357" y="2408510"/>
                  <a:pt x="1715357" y="2408510"/>
                </a:cubicBezTo>
                <a:lnTo>
                  <a:pt x="1588961" y="2489758"/>
                </a:lnTo>
                <a:cubicBezTo>
                  <a:pt x="1568863" y="2502235"/>
                  <a:pt x="1549813" y="2516333"/>
                  <a:pt x="1530287" y="2529763"/>
                </a:cubicBezTo>
                <a:lnTo>
                  <a:pt x="1472184" y="2570435"/>
                </a:lnTo>
                <a:lnTo>
                  <a:pt x="1443133" y="2590818"/>
                </a:lnTo>
                <a:cubicBezTo>
                  <a:pt x="1433513" y="2597676"/>
                  <a:pt x="1424273" y="2605105"/>
                  <a:pt x="1414748" y="2612154"/>
                </a:cubicBezTo>
                <a:lnTo>
                  <a:pt x="1358265" y="2655112"/>
                </a:lnTo>
                <a:lnTo>
                  <a:pt x="1329976" y="2676638"/>
                </a:lnTo>
                <a:lnTo>
                  <a:pt x="1315879" y="2687402"/>
                </a:lnTo>
                <a:lnTo>
                  <a:pt x="1302163" y="2698641"/>
                </a:lnTo>
                <a:lnTo>
                  <a:pt x="1247394" y="2743789"/>
                </a:lnTo>
                <a:cubicBezTo>
                  <a:pt x="1101757" y="2864662"/>
                  <a:pt x="964883" y="2996297"/>
                  <a:pt x="838771" y="3137553"/>
                </a:cubicBezTo>
                <a:cubicBezTo>
                  <a:pt x="712851" y="3278904"/>
                  <a:pt x="596932" y="3429304"/>
                  <a:pt x="494157" y="3588371"/>
                </a:cubicBezTo>
                <a:cubicBezTo>
                  <a:pt x="391763" y="3747629"/>
                  <a:pt x="299847" y="3913841"/>
                  <a:pt x="223171" y="4087005"/>
                </a:cubicBezTo>
                <a:lnTo>
                  <a:pt x="204311" y="4129391"/>
                </a:lnTo>
                <a:cubicBezTo>
                  <a:pt x="192596" y="4157966"/>
                  <a:pt x="173831" y="4200448"/>
                  <a:pt x="151924" y="4258264"/>
                </a:cubicBezTo>
                <a:cubicBezTo>
                  <a:pt x="140399" y="4286935"/>
                  <a:pt x="129064" y="4319796"/>
                  <a:pt x="115729" y="4356086"/>
                </a:cubicBezTo>
                <a:cubicBezTo>
                  <a:pt x="103251" y="4392662"/>
                  <a:pt x="89535" y="4432953"/>
                  <a:pt x="76010" y="4477339"/>
                </a:cubicBezTo>
                <a:cubicBezTo>
                  <a:pt x="62389" y="4521726"/>
                  <a:pt x="48673" y="4570018"/>
                  <a:pt x="35528" y="4622596"/>
                </a:cubicBezTo>
                <a:cubicBezTo>
                  <a:pt x="22479" y="4675364"/>
                  <a:pt x="9620" y="4731467"/>
                  <a:pt x="0" y="4793951"/>
                </a:cubicBezTo>
                <a:lnTo>
                  <a:pt x="9430" y="4795189"/>
                </a:lnTo>
                <a:lnTo>
                  <a:pt x="18860" y="4796427"/>
                </a:lnTo>
                <a:lnTo>
                  <a:pt x="28289" y="4797665"/>
                </a:lnTo>
                <a:lnTo>
                  <a:pt x="37719" y="4798904"/>
                </a:lnTo>
                <a:cubicBezTo>
                  <a:pt x="46863" y="4739849"/>
                  <a:pt x="59626" y="4683365"/>
                  <a:pt x="72485" y="4631740"/>
                </a:cubicBezTo>
                <a:cubicBezTo>
                  <a:pt x="85439" y="4579924"/>
                  <a:pt x="98965" y="4532204"/>
                  <a:pt x="112490" y="4488389"/>
                </a:cubicBezTo>
                <a:cubicBezTo>
                  <a:pt x="125825" y="4444574"/>
                  <a:pt x="139351" y="4404759"/>
                  <a:pt x="151733" y="4368564"/>
                </a:cubicBezTo>
                <a:cubicBezTo>
                  <a:pt x="164878" y="4332655"/>
                  <a:pt x="176022" y="4300175"/>
                  <a:pt x="187452" y="4271790"/>
                </a:cubicBezTo>
                <a:cubicBezTo>
                  <a:pt x="209074" y="4214640"/>
                  <a:pt x="227648" y="4172635"/>
                  <a:pt x="239268" y="4144345"/>
                </a:cubicBezTo>
                <a:lnTo>
                  <a:pt x="257937" y="4102435"/>
                </a:lnTo>
                <a:cubicBezTo>
                  <a:pt x="333756" y="3931081"/>
                  <a:pt x="424720" y="3766584"/>
                  <a:pt x="526066" y="3608945"/>
                </a:cubicBezTo>
                <a:cubicBezTo>
                  <a:pt x="627793" y="3451497"/>
                  <a:pt x="742474" y="3302621"/>
                  <a:pt x="867156" y="3162699"/>
                </a:cubicBezTo>
                <a:cubicBezTo>
                  <a:pt x="991934" y="3022872"/>
                  <a:pt x="1127379" y="2892570"/>
                  <a:pt x="1271683" y="2772936"/>
                </a:cubicBezTo>
                <a:lnTo>
                  <a:pt x="1325975" y="2728264"/>
                </a:lnTo>
                <a:lnTo>
                  <a:pt x="1339501" y="2717119"/>
                </a:lnTo>
                <a:lnTo>
                  <a:pt x="1353503" y="2706452"/>
                </a:lnTo>
                <a:lnTo>
                  <a:pt x="1381506" y="2685211"/>
                </a:lnTo>
                <a:lnTo>
                  <a:pt x="1437418" y="2642634"/>
                </a:lnTo>
                <a:cubicBezTo>
                  <a:pt x="1446752" y="2635585"/>
                  <a:pt x="1455992" y="2628346"/>
                  <a:pt x="1465517" y="2621488"/>
                </a:cubicBezTo>
                <a:lnTo>
                  <a:pt x="1494282" y="2601295"/>
                </a:lnTo>
                <a:lnTo>
                  <a:pt x="1551908" y="2561005"/>
                </a:lnTo>
                <a:cubicBezTo>
                  <a:pt x="1571149" y="2547670"/>
                  <a:pt x="1590008" y="2533668"/>
                  <a:pt x="1610011" y="2521381"/>
                </a:cubicBezTo>
                <a:lnTo>
                  <a:pt x="1721358" y="2449848"/>
                </a:lnTo>
                <a:lnTo>
                  <a:pt x="1721358" y="2449848"/>
                </a:lnTo>
                <a:cubicBezTo>
                  <a:pt x="1721358" y="2449848"/>
                  <a:pt x="1721358" y="2449848"/>
                  <a:pt x="1721358" y="2449848"/>
                </a:cubicBezTo>
                <a:cubicBezTo>
                  <a:pt x="1721358" y="2449848"/>
                  <a:pt x="1721168" y="2449848"/>
                  <a:pt x="1722311" y="2450134"/>
                </a:cubicBezTo>
                <a:lnTo>
                  <a:pt x="1731550" y="2452896"/>
                </a:lnTo>
                <a:cubicBezTo>
                  <a:pt x="1759649" y="2461087"/>
                  <a:pt x="1787557" y="2469755"/>
                  <a:pt x="1815751" y="2477470"/>
                </a:cubicBezTo>
                <a:cubicBezTo>
                  <a:pt x="1843945" y="2485281"/>
                  <a:pt x="1871948" y="2493568"/>
                  <a:pt x="1900238" y="2500902"/>
                </a:cubicBezTo>
                <a:cubicBezTo>
                  <a:pt x="1928527" y="2508331"/>
                  <a:pt x="1956721" y="2516142"/>
                  <a:pt x="1985105" y="2523095"/>
                </a:cubicBezTo>
                <a:cubicBezTo>
                  <a:pt x="2013490" y="2530144"/>
                  <a:pt x="2041779" y="2537573"/>
                  <a:pt x="2070259" y="2544050"/>
                </a:cubicBezTo>
                <a:cubicBezTo>
                  <a:pt x="2098739" y="2550813"/>
                  <a:pt x="2127123" y="2557576"/>
                  <a:pt x="2155793" y="2563767"/>
                </a:cubicBezTo>
                <a:cubicBezTo>
                  <a:pt x="2184368" y="2570149"/>
                  <a:pt x="2212943" y="2576435"/>
                  <a:pt x="2241614" y="2582150"/>
                </a:cubicBezTo>
                <a:lnTo>
                  <a:pt x="2284571" y="2591009"/>
                </a:lnTo>
                <a:lnTo>
                  <a:pt x="2327720" y="2599200"/>
                </a:lnTo>
                <a:cubicBezTo>
                  <a:pt x="2356390" y="2604820"/>
                  <a:pt x="2385251" y="2609868"/>
                  <a:pt x="2414111" y="2614916"/>
                </a:cubicBezTo>
                <a:cubicBezTo>
                  <a:pt x="2442877" y="2620155"/>
                  <a:pt x="2471833" y="2624536"/>
                  <a:pt x="2500694" y="2629109"/>
                </a:cubicBezTo>
                <a:cubicBezTo>
                  <a:pt x="2529554" y="2633871"/>
                  <a:pt x="2558605" y="2637586"/>
                  <a:pt x="2587562" y="2641872"/>
                </a:cubicBezTo>
                <a:cubicBezTo>
                  <a:pt x="2616518" y="2645872"/>
                  <a:pt x="2645664" y="2649302"/>
                  <a:pt x="2674620" y="2653016"/>
                </a:cubicBezTo>
                <a:cubicBezTo>
                  <a:pt x="2703767" y="2656160"/>
                  <a:pt x="2732818" y="2659588"/>
                  <a:pt x="2761964" y="2662446"/>
                </a:cubicBezTo>
                <a:cubicBezTo>
                  <a:pt x="2791111" y="2665018"/>
                  <a:pt x="2820257" y="2668161"/>
                  <a:pt x="2849499" y="2670161"/>
                </a:cubicBezTo>
                <a:cubicBezTo>
                  <a:pt x="2878741" y="2672447"/>
                  <a:pt x="2907887" y="2674543"/>
                  <a:pt x="2937129" y="2676067"/>
                </a:cubicBezTo>
                <a:cubicBezTo>
                  <a:pt x="2995613" y="2679686"/>
                  <a:pt x="3054191" y="2681210"/>
                  <a:pt x="3112770" y="2682163"/>
                </a:cubicBezTo>
                <a:lnTo>
                  <a:pt x="3171920" y="2682163"/>
                </a:lnTo>
                <a:cubicBezTo>
                  <a:pt x="3191637" y="2682163"/>
                  <a:pt x="3211354" y="2681496"/>
                  <a:pt x="3231071" y="2681115"/>
                </a:cubicBezTo>
                <a:cubicBezTo>
                  <a:pt x="3250787" y="2680925"/>
                  <a:pt x="3270504" y="2679781"/>
                  <a:pt x="3290221" y="2679019"/>
                </a:cubicBezTo>
                <a:cubicBezTo>
                  <a:pt x="3309938" y="2678353"/>
                  <a:pt x="3329654" y="2677210"/>
                  <a:pt x="3349371" y="2675781"/>
                </a:cubicBezTo>
                <a:cubicBezTo>
                  <a:pt x="3369088" y="2674543"/>
                  <a:pt x="3388805" y="2673304"/>
                  <a:pt x="3408426" y="2671400"/>
                </a:cubicBezTo>
                <a:cubicBezTo>
                  <a:pt x="3428143" y="2669685"/>
                  <a:pt x="3447764" y="2668161"/>
                  <a:pt x="3467386" y="2665780"/>
                </a:cubicBezTo>
                <a:cubicBezTo>
                  <a:pt x="3506724" y="2661684"/>
                  <a:pt x="3545872" y="2656445"/>
                  <a:pt x="3585020" y="2650349"/>
                </a:cubicBezTo>
                <a:cubicBezTo>
                  <a:pt x="3624072" y="2644253"/>
                  <a:pt x="3663029" y="2637110"/>
                  <a:pt x="3701796" y="2628823"/>
                </a:cubicBezTo>
                <a:cubicBezTo>
                  <a:pt x="3740468" y="2620441"/>
                  <a:pt x="3779044" y="2611106"/>
                  <a:pt x="3817239" y="2600343"/>
                </a:cubicBezTo>
                <a:cubicBezTo>
                  <a:pt x="3855434" y="2589485"/>
                  <a:pt x="3893344" y="2577674"/>
                  <a:pt x="3930587" y="2563958"/>
                </a:cubicBezTo>
                <a:lnTo>
                  <a:pt x="3958590" y="2553670"/>
                </a:lnTo>
                <a:lnTo>
                  <a:pt x="3986213" y="2542431"/>
                </a:lnTo>
                <a:cubicBezTo>
                  <a:pt x="3995357" y="2538621"/>
                  <a:pt x="4004691" y="2535097"/>
                  <a:pt x="4013740" y="2530906"/>
                </a:cubicBezTo>
                <a:lnTo>
                  <a:pt x="4040886" y="2518523"/>
                </a:lnTo>
                <a:cubicBezTo>
                  <a:pt x="4059174" y="2510618"/>
                  <a:pt x="4076605" y="2500902"/>
                  <a:pt x="4094512" y="2492044"/>
                </a:cubicBezTo>
                <a:cubicBezTo>
                  <a:pt x="4112133" y="2482804"/>
                  <a:pt x="4129373" y="2472613"/>
                  <a:pt x="4146709" y="2462802"/>
                </a:cubicBezTo>
                <a:cubicBezTo>
                  <a:pt x="4180618" y="2441752"/>
                  <a:pt x="4214337" y="2420035"/>
                  <a:pt x="4245579" y="2394889"/>
                </a:cubicBezTo>
                <a:cubicBezTo>
                  <a:pt x="4277392" y="2370600"/>
                  <a:pt x="4306920" y="2343168"/>
                  <a:pt x="4335018" y="2314498"/>
                </a:cubicBezTo>
                <a:cubicBezTo>
                  <a:pt x="4348544" y="2299639"/>
                  <a:pt x="4362546" y="2285161"/>
                  <a:pt x="4374928" y="2269254"/>
                </a:cubicBezTo>
                <a:cubicBezTo>
                  <a:pt x="4381119" y="2261348"/>
                  <a:pt x="4387882" y="2253823"/>
                  <a:pt x="4393692" y="2245632"/>
                </a:cubicBezTo>
                <a:lnTo>
                  <a:pt x="4411313" y="2221057"/>
                </a:lnTo>
                <a:cubicBezTo>
                  <a:pt x="4417410" y="2213056"/>
                  <a:pt x="4422362" y="2204198"/>
                  <a:pt x="4427792" y="2195721"/>
                </a:cubicBezTo>
                <a:cubicBezTo>
                  <a:pt x="4433030" y="2187053"/>
                  <a:pt x="4438841" y="2178862"/>
                  <a:pt x="4443508" y="2169908"/>
                </a:cubicBezTo>
                <a:cubicBezTo>
                  <a:pt x="4453033" y="2152192"/>
                  <a:pt x="4463034" y="2134666"/>
                  <a:pt x="4471035" y="2116092"/>
                </a:cubicBezTo>
                <a:cubicBezTo>
                  <a:pt x="4488466" y="2079706"/>
                  <a:pt x="4501325" y="2041321"/>
                  <a:pt x="4512374" y="2002649"/>
                </a:cubicBezTo>
                <a:cubicBezTo>
                  <a:pt x="4533043" y="1924830"/>
                  <a:pt x="4541520" y="1844153"/>
                  <a:pt x="4539996" y="1764238"/>
                </a:cubicBezTo>
                <a:lnTo>
                  <a:pt x="4538091" y="1725186"/>
                </a:lnTo>
                <a:cubicBezTo>
                  <a:pt x="4537710" y="1712137"/>
                  <a:pt x="4536186" y="1699278"/>
                  <a:pt x="4534948" y="1686324"/>
                </a:cubicBezTo>
                <a:cubicBezTo>
                  <a:pt x="4532853" y="1660321"/>
                  <a:pt x="4528757" y="1634698"/>
                  <a:pt x="4524852" y="1609076"/>
                </a:cubicBezTo>
                <a:cubicBezTo>
                  <a:pt x="4515898" y="1557927"/>
                  <a:pt x="4504849" y="1507254"/>
                  <a:pt x="4490276" y="1457629"/>
                </a:cubicBezTo>
                <a:cubicBezTo>
                  <a:pt x="4486656" y="1445246"/>
                  <a:pt x="4483322" y="1432673"/>
                  <a:pt x="4479417" y="1420386"/>
                </a:cubicBezTo>
                <a:lnTo>
                  <a:pt x="4467225" y="1383619"/>
                </a:lnTo>
                <a:cubicBezTo>
                  <a:pt x="4459510" y="1358950"/>
                  <a:pt x="4449795" y="1335042"/>
                  <a:pt x="4441031" y="1310753"/>
                </a:cubicBezTo>
                <a:cubicBezTo>
                  <a:pt x="4431983" y="1286560"/>
                  <a:pt x="4421601" y="1262938"/>
                  <a:pt x="4411980" y="1239030"/>
                </a:cubicBezTo>
                <a:cubicBezTo>
                  <a:pt x="4401693" y="1215408"/>
                  <a:pt x="4390930" y="1191976"/>
                  <a:pt x="4380357" y="1168450"/>
                </a:cubicBezTo>
                <a:lnTo>
                  <a:pt x="4380357" y="1168259"/>
                </a:lnTo>
                <a:cubicBezTo>
                  <a:pt x="4375595" y="1157782"/>
                  <a:pt x="4370832" y="1147304"/>
                  <a:pt x="4366165" y="1136827"/>
                </a:cubicBezTo>
                <a:lnTo>
                  <a:pt x="4352068" y="1105394"/>
                </a:lnTo>
                <a:cubicBezTo>
                  <a:pt x="4343019" y="1084344"/>
                  <a:pt x="4334637" y="1063008"/>
                  <a:pt x="4325874" y="1041767"/>
                </a:cubicBezTo>
                <a:cubicBezTo>
                  <a:pt x="4317397" y="1020526"/>
                  <a:pt x="4310063" y="998809"/>
                  <a:pt x="4302157" y="977378"/>
                </a:cubicBezTo>
                <a:cubicBezTo>
                  <a:pt x="4294632" y="955756"/>
                  <a:pt x="4288155" y="933849"/>
                  <a:pt x="4281202" y="912132"/>
                </a:cubicBezTo>
                <a:cubicBezTo>
                  <a:pt x="4275106" y="890129"/>
                  <a:pt x="4269105" y="868126"/>
                  <a:pt x="4263581" y="846028"/>
                </a:cubicBezTo>
                <a:lnTo>
                  <a:pt x="4256437" y="812691"/>
                </a:lnTo>
                <a:lnTo>
                  <a:pt x="4252818" y="796022"/>
                </a:lnTo>
                <a:lnTo>
                  <a:pt x="4250055" y="779258"/>
                </a:lnTo>
                <a:lnTo>
                  <a:pt x="4244626" y="745635"/>
                </a:lnTo>
                <a:cubicBezTo>
                  <a:pt x="4243102" y="734395"/>
                  <a:pt x="4242245" y="723156"/>
                  <a:pt x="4241006" y="711821"/>
                </a:cubicBezTo>
                <a:cubicBezTo>
                  <a:pt x="4238054" y="689342"/>
                  <a:pt x="4238244" y="666768"/>
                  <a:pt x="4237006" y="644194"/>
                </a:cubicBezTo>
                <a:lnTo>
                  <a:pt x="4237673" y="616190"/>
                </a:lnTo>
                <a:cubicBezTo>
                  <a:pt x="4237863" y="606856"/>
                  <a:pt x="4237959" y="597521"/>
                  <a:pt x="4239102" y="588282"/>
                </a:cubicBezTo>
                <a:lnTo>
                  <a:pt x="4241769" y="560469"/>
                </a:lnTo>
                <a:cubicBezTo>
                  <a:pt x="4242626" y="551230"/>
                  <a:pt x="4244721" y="542086"/>
                  <a:pt x="4246055" y="532942"/>
                </a:cubicBezTo>
                <a:cubicBezTo>
                  <a:pt x="4248531" y="514463"/>
                  <a:pt x="4253865" y="496651"/>
                  <a:pt x="4258056" y="478649"/>
                </a:cubicBezTo>
                <a:cubicBezTo>
                  <a:pt x="4260628" y="469791"/>
                  <a:pt x="4263866" y="461123"/>
                  <a:pt x="4266629" y="452265"/>
                </a:cubicBezTo>
                <a:cubicBezTo>
                  <a:pt x="4268153" y="447883"/>
                  <a:pt x="4269486" y="443502"/>
                  <a:pt x="4271105" y="439120"/>
                </a:cubicBezTo>
                <a:lnTo>
                  <a:pt x="4276535" y="426357"/>
                </a:lnTo>
                <a:cubicBezTo>
                  <a:pt x="4290155" y="391972"/>
                  <a:pt x="4308920" y="359872"/>
                  <a:pt x="4330732" y="330154"/>
                </a:cubicBezTo>
                <a:cubicBezTo>
                  <a:pt x="4341305" y="315010"/>
                  <a:pt x="4353782" y="301294"/>
                  <a:pt x="4365879" y="287292"/>
                </a:cubicBezTo>
                <a:cubicBezTo>
                  <a:pt x="4379024" y="274243"/>
                  <a:pt x="4391692" y="260812"/>
                  <a:pt x="4406170" y="249001"/>
                </a:cubicBezTo>
                <a:cubicBezTo>
                  <a:pt x="4419886" y="236428"/>
                  <a:pt x="4435126" y="225760"/>
                  <a:pt x="4449985" y="214521"/>
                </a:cubicBezTo>
                <a:cubicBezTo>
                  <a:pt x="4465511" y="204139"/>
                  <a:pt x="4480846" y="193566"/>
                  <a:pt x="4497229" y="184422"/>
                </a:cubicBezTo>
                <a:cubicBezTo>
                  <a:pt x="4513136" y="174611"/>
                  <a:pt x="4530090" y="166515"/>
                  <a:pt x="4546759" y="157847"/>
                </a:cubicBezTo>
                <a:cubicBezTo>
                  <a:pt x="4563904" y="150132"/>
                  <a:pt x="4580763" y="141845"/>
                  <a:pt x="4598385" y="135082"/>
                </a:cubicBezTo>
                <a:cubicBezTo>
                  <a:pt x="4668012" y="106412"/>
                  <a:pt x="4741640" y="86981"/>
                  <a:pt x="4816031" y="72122"/>
                </a:cubicBezTo>
                <a:cubicBezTo>
                  <a:pt x="4926616" y="50691"/>
                  <a:pt x="5039582" y="41071"/>
                  <a:pt x="5152644" y="38308"/>
                </a:cubicBezTo>
                <a:lnTo>
                  <a:pt x="5192554" y="37642"/>
                </a:lnTo>
                <a:cubicBezTo>
                  <a:pt x="5219129" y="37642"/>
                  <a:pt x="5259039" y="37261"/>
                  <a:pt x="5312283" y="38975"/>
                </a:cubicBezTo>
                <a:cubicBezTo>
                  <a:pt x="5365528" y="40594"/>
                  <a:pt x="5432012" y="44023"/>
                  <a:pt x="5511641" y="51167"/>
                </a:cubicBezTo>
                <a:cubicBezTo>
                  <a:pt x="5591080" y="58406"/>
                  <a:pt x="5684330" y="68884"/>
                  <a:pt x="5788533" y="87362"/>
                </a:cubicBezTo>
                <a:close/>
              </a:path>
            </a:pathLst>
          </a:custGeom>
          <a:gradFill flip="none" rotWithShape="1">
            <a:gsLst>
              <a:gs pos="93000">
                <a:schemeClr val="bg1">
                  <a:alpha val="0"/>
                </a:schemeClr>
              </a:gs>
              <a:gs pos="13000">
                <a:schemeClr val="bg1">
                  <a:alpha val="0"/>
                </a:schemeClr>
              </a:gs>
              <a:gs pos="61000">
                <a:schemeClr val="bg1"/>
              </a:gs>
              <a:gs pos="36000">
                <a:schemeClr val="bg1"/>
              </a:gs>
            </a:gsLst>
            <a:lin ang="8100000" scaled="1"/>
            <a:tileRect/>
          </a:gradFill>
          <a:ln w="0" cap="flat">
            <a:noFill/>
            <a:prstDash val="solid"/>
            <a:miter/>
          </a:ln>
        </p:spPr>
        <p:txBody>
          <a:bodyPr rtlCol="0" anchor="ctr"/>
          <a:lstStyle/>
          <a:p>
            <a:endParaRPr lang="en-US"/>
          </a:p>
        </p:txBody>
      </p:sp>
      <p:cxnSp>
        <p:nvCxnSpPr>
          <p:cNvPr id="3" name="Straight Connector 2">
            <a:extLst>
              <a:ext uri="{FF2B5EF4-FFF2-40B4-BE49-F238E27FC236}">
                <a16:creationId xmlns:a16="http://schemas.microsoft.com/office/drawing/2014/main" id="{17B71D6D-54F2-EA74-DD94-CCAA74637229}"/>
              </a:ext>
            </a:extLst>
          </p:cNvPr>
          <p:cNvCxnSpPr>
            <a:cxnSpLocks/>
          </p:cNvCxnSpPr>
          <p:nvPr userDrawn="1"/>
        </p:nvCxnSpPr>
        <p:spPr>
          <a:xfrm>
            <a:off x="2539437" y="5990966"/>
            <a:ext cx="0" cy="33745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D12A1497-CDEF-989C-78E5-C757139189D9}"/>
              </a:ext>
            </a:extLst>
          </p:cNvPr>
          <p:cNvGrpSpPr/>
          <p:nvPr userDrawn="1"/>
        </p:nvGrpSpPr>
        <p:grpSpPr>
          <a:xfrm>
            <a:off x="2779773" y="6025108"/>
            <a:ext cx="2086118" cy="269171"/>
            <a:chOff x="353813" y="6440123"/>
            <a:chExt cx="2086118" cy="269171"/>
          </a:xfrm>
        </p:grpSpPr>
        <p:pic>
          <p:nvPicPr>
            <p:cNvPr id="7" name="Picture 6">
              <a:extLst>
                <a:ext uri="{FF2B5EF4-FFF2-40B4-BE49-F238E27FC236}">
                  <a16:creationId xmlns:a16="http://schemas.microsoft.com/office/drawing/2014/main" id="{5C4502F6-3DF5-DB61-B68F-517DEC0B9DF2}"/>
                </a:ext>
              </a:extLst>
            </p:cNvPr>
            <p:cNvPicPr>
              <a:picLocks noChangeAspect="1"/>
            </p:cNvPicPr>
            <p:nvPr/>
          </p:nvPicPr>
          <p:blipFill rotWithShape="1">
            <a:blip r:embed="rId2"/>
            <a:srcRect l="93397"/>
            <a:stretch/>
          </p:blipFill>
          <p:spPr>
            <a:xfrm>
              <a:off x="2302193" y="6440123"/>
              <a:ext cx="137738" cy="268099"/>
            </a:xfrm>
            <a:prstGeom prst="rect">
              <a:avLst/>
            </a:prstGeom>
          </p:spPr>
        </p:pic>
        <p:pic>
          <p:nvPicPr>
            <p:cNvPr id="8" name="Picture 7">
              <a:extLst>
                <a:ext uri="{FF2B5EF4-FFF2-40B4-BE49-F238E27FC236}">
                  <a16:creationId xmlns:a16="http://schemas.microsoft.com/office/drawing/2014/main" id="{3AF8DED8-2C80-A509-3C79-3E9252B47DBE}"/>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Lst>
            </a:blip>
            <a:srcRect l="9796" r="9936"/>
            <a:stretch/>
          </p:blipFill>
          <p:spPr>
            <a:xfrm>
              <a:off x="558165" y="6441195"/>
              <a:ext cx="1674496" cy="268099"/>
            </a:xfrm>
            <a:prstGeom prst="rect">
              <a:avLst/>
            </a:prstGeom>
          </p:spPr>
        </p:pic>
        <p:pic>
          <p:nvPicPr>
            <p:cNvPr id="9" name="Picture 8">
              <a:extLst>
                <a:ext uri="{FF2B5EF4-FFF2-40B4-BE49-F238E27FC236}">
                  <a16:creationId xmlns:a16="http://schemas.microsoft.com/office/drawing/2014/main" id="{62BCDD6C-E214-DD7C-5AC6-17535EAE4DDF}"/>
                </a:ext>
              </a:extLst>
            </p:cNvPr>
            <p:cNvPicPr>
              <a:picLocks noChangeAspect="1"/>
            </p:cNvPicPr>
            <p:nvPr/>
          </p:nvPicPr>
          <p:blipFill rotWithShape="1">
            <a:blip r:embed="rId2"/>
            <a:srcRect r="93400"/>
            <a:stretch/>
          </p:blipFill>
          <p:spPr>
            <a:xfrm>
              <a:off x="353813" y="6440123"/>
              <a:ext cx="137678" cy="268099"/>
            </a:xfrm>
            <a:prstGeom prst="rect">
              <a:avLst/>
            </a:prstGeom>
          </p:spPr>
        </p:pic>
      </p:grpSp>
      <p:grpSp>
        <p:nvGrpSpPr>
          <p:cNvPr id="10" name="Group 9">
            <a:extLst>
              <a:ext uri="{FF2B5EF4-FFF2-40B4-BE49-F238E27FC236}">
                <a16:creationId xmlns:a16="http://schemas.microsoft.com/office/drawing/2014/main" id="{84048E3D-EC1D-6316-50F2-64CE93466503}"/>
              </a:ext>
            </a:extLst>
          </p:cNvPr>
          <p:cNvGrpSpPr>
            <a:grpSpLocks noChangeAspect="1"/>
          </p:cNvGrpSpPr>
          <p:nvPr userDrawn="1"/>
        </p:nvGrpSpPr>
        <p:grpSpPr>
          <a:xfrm>
            <a:off x="9539307" y="5938983"/>
            <a:ext cx="2244706" cy="464120"/>
            <a:chOff x="9396413" y="6100763"/>
            <a:chExt cx="2441576" cy="504826"/>
          </a:xfrm>
          <a:solidFill>
            <a:schemeClr val="bg1"/>
          </a:solidFill>
        </p:grpSpPr>
        <p:sp>
          <p:nvSpPr>
            <p:cNvPr id="17" name="Freeform 13">
              <a:extLst>
                <a:ext uri="{FF2B5EF4-FFF2-40B4-BE49-F238E27FC236}">
                  <a16:creationId xmlns:a16="http://schemas.microsoft.com/office/drawing/2014/main" id="{50E8FE41-BE89-2A3E-08CF-ACD94A56926E}"/>
                </a:ext>
              </a:extLst>
            </p:cNvPr>
            <p:cNvSpPr>
              <a:spLocks/>
            </p:cNvSpPr>
            <p:nvPr userDrawn="1"/>
          </p:nvSpPr>
          <p:spPr bwMode="auto">
            <a:xfrm>
              <a:off x="9583738" y="6118226"/>
              <a:ext cx="163513" cy="201613"/>
            </a:xfrm>
            <a:custGeom>
              <a:avLst/>
              <a:gdLst>
                <a:gd name="T0" fmla="*/ 42 w 68"/>
                <a:gd name="T1" fmla="*/ 16 h 83"/>
                <a:gd name="T2" fmla="*/ 24 w 68"/>
                <a:gd name="T3" fmla="*/ 23 h 83"/>
                <a:gd name="T4" fmla="*/ 19 w 68"/>
                <a:gd name="T5" fmla="*/ 42 h 83"/>
                <a:gd name="T6" fmla="*/ 20 w 68"/>
                <a:gd name="T7" fmla="*/ 52 h 83"/>
                <a:gd name="T8" fmla="*/ 24 w 68"/>
                <a:gd name="T9" fmla="*/ 61 h 83"/>
                <a:gd name="T10" fmla="*/ 31 w 68"/>
                <a:gd name="T11" fmla="*/ 66 h 83"/>
                <a:gd name="T12" fmla="*/ 41 w 68"/>
                <a:gd name="T13" fmla="*/ 68 h 83"/>
                <a:gd name="T14" fmla="*/ 46 w 68"/>
                <a:gd name="T15" fmla="*/ 68 h 83"/>
                <a:gd name="T16" fmla="*/ 50 w 68"/>
                <a:gd name="T17" fmla="*/ 67 h 83"/>
                <a:gd name="T18" fmla="*/ 50 w 68"/>
                <a:gd name="T19" fmla="*/ 40 h 83"/>
                <a:gd name="T20" fmla="*/ 68 w 68"/>
                <a:gd name="T21" fmla="*/ 40 h 83"/>
                <a:gd name="T22" fmla="*/ 68 w 68"/>
                <a:gd name="T23" fmla="*/ 79 h 83"/>
                <a:gd name="T24" fmla="*/ 57 w 68"/>
                <a:gd name="T25" fmla="*/ 82 h 83"/>
                <a:gd name="T26" fmla="*/ 40 w 68"/>
                <a:gd name="T27" fmla="*/ 83 h 83"/>
                <a:gd name="T28" fmla="*/ 23 w 68"/>
                <a:gd name="T29" fmla="*/ 80 h 83"/>
                <a:gd name="T30" fmla="*/ 11 w 68"/>
                <a:gd name="T31" fmla="*/ 72 h 83"/>
                <a:gd name="T32" fmla="*/ 3 w 68"/>
                <a:gd name="T33" fmla="*/ 59 h 83"/>
                <a:gd name="T34" fmla="*/ 0 w 68"/>
                <a:gd name="T35" fmla="*/ 42 h 83"/>
                <a:gd name="T36" fmla="*/ 3 w 68"/>
                <a:gd name="T37" fmla="*/ 24 h 83"/>
                <a:gd name="T38" fmla="*/ 12 w 68"/>
                <a:gd name="T39" fmla="*/ 11 h 83"/>
                <a:gd name="T40" fmla="*/ 24 w 68"/>
                <a:gd name="T41" fmla="*/ 3 h 83"/>
                <a:gd name="T42" fmla="*/ 40 w 68"/>
                <a:gd name="T43" fmla="*/ 0 h 83"/>
                <a:gd name="T44" fmla="*/ 50 w 68"/>
                <a:gd name="T45" fmla="*/ 1 h 83"/>
                <a:gd name="T46" fmla="*/ 58 w 68"/>
                <a:gd name="T47" fmla="*/ 3 h 83"/>
                <a:gd name="T48" fmla="*/ 63 w 68"/>
                <a:gd name="T49" fmla="*/ 5 h 83"/>
                <a:gd name="T50" fmla="*/ 66 w 68"/>
                <a:gd name="T51" fmla="*/ 6 h 83"/>
                <a:gd name="T52" fmla="*/ 61 w 68"/>
                <a:gd name="T53" fmla="*/ 21 h 83"/>
                <a:gd name="T54" fmla="*/ 53 w 68"/>
                <a:gd name="T55" fmla="*/ 17 h 83"/>
                <a:gd name="T56" fmla="*/ 42 w 68"/>
                <a:gd name="T57" fmla="*/ 1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83">
                  <a:moveTo>
                    <a:pt x="42" y="16"/>
                  </a:moveTo>
                  <a:cubicBezTo>
                    <a:pt x="34" y="16"/>
                    <a:pt x="28" y="18"/>
                    <a:pt x="24" y="23"/>
                  </a:cubicBezTo>
                  <a:cubicBezTo>
                    <a:pt x="21" y="27"/>
                    <a:pt x="19" y="34"/>
                    <a:pt x="19" y="42"/>
                  </a:cubicBezTo>
                  <a:cubicBezTo>
                    <a:pt x="19" y="46"/>
                    <a:pt x="19" y="49"/>
                    <a:pt x="20" y="52"/>
                  </a:cubicBezTo>
                  <a:cubicBezTo>
                    <a:pt x="21" y="55"/>
                    <a:pt x="22" y="58"/>
                    <a:pt x="24" y="61"/>
                  </a:cubicBezTo>
                  <a:cubicBezTo>
                    <a:pt x="26" y="63"/>
                    <a:pt x="28" y="65"/>
                    <a:pt x="31" y="66"/>
                  </a:cubicBezTo>
                  <a:cubicBezTo>
                    <a:pt x="34" y="67"/>
                    <a:pt x="37" y="68"/>
                    <a:pt x="41" y="68"/>
                  </a:cubicBezTo>
                  <a:cubicBezTo>
                    <a:pt x="43" y="68"/>
                    <a:pt x="45" y="68"/>
                    <a:pt x="46" y="68"/>
                  </a:cubicBezTo>
                  <a:cubicBezTo>
                    <a:pt x="47" y="68"/>
                    <a:pt x="49" y="67"/>
                    <a:pt x="50" y="67"/>
                  </a:cubicBezTo>
                  <a:cubicBezTo>
                    <a:pt x="50" y="40"/>
                    <a:pt x="50" y="40"/>
                    <a:pt x="50" y="40"/>
                  </a:cubicBezTo>
                  <a:cubicBezTo>
                    <a:pt x="68" y="40"/>
                    <a:pt x="68" y="40"/>
                    <a:pt x="68" y="40"/>
                  </a:cubicBezTo>
                  <a:cubicBezTo>
                    <a:pt x="68" y="79"/>
                    <a:pt x="68" y="79"/>
                    <a:pt x="68" y="79"/>
                  </a:cubicBezTo>
                  <a:cubicBezTo>
                    <a:pt x="65" y="80"/>
                    <a:pt x="62" y="81"/>
                    <a:pt x="57" y="82"/>
                  </a:cubicBezTo>
                  <a:cubicBezTo>
                    <a:pt x="53" y="83"/>
                    <a:pt x="47" y="83"/>
                    <a:pt x="40" y="83"/>
                  </a:cubicBezTo>
                  <a:cubicBezTo>
                    <a:pt x="34" y="83"/>
                    <a:pt x="28" y="82"/>
                    <a:pt x="23" y="80"/>
                  </a:cubicBezTo>
                  <a:cubicBezTo>
                    <a:pt x="19" y="78"/>
                    <a:pt x="14" y="76"/>
                    <a:pt x="11" y="72"/>
                  </a:cubicBezTo>
                  <a:cubicBezTo>
                    <a:pt x="8" y="69"/>
                    <a:pt x="5" y="64"/>
                    <a:pt x="3" y="59"/>
                  </a:cubicBezTo>
                  <a:cubicBezTo>
                    <a:pt x="1" y="54"/>
                    <a:pt x="0" y="48"/>
                    <a:pt x="0" y="42"/>
                  </a:cubicBezTo>
                  <a:cubicBezTo>
                    <a:pt x="0" y="35"/>
                    <a:pt x="1" y="29"/>
                    <a:pt x="3" y="24"/>
                  </a:cubicBezTo>
                  <a:cubicBezTo>
                    <a:pt x="5" y="19"/>
                    <a:pt x="8" y="15"/>
                    <a:pt x="12" y="11"/>
                  </a:cubicBezTo>
                  <a:cubicBezTo>
                    <a:pt x="15" y="7"/>
                    <a:pt x="20" y="5"/>
                    <a:pt x="24" y="3"/>
                  </a:cubicBezTo>
                  <a:cubicBezTo>
                    <a:pt x="29" y="1"/>
                    <a:pt x="35" y="0"/>
                    <a:pt x="40" y="0"/>
                  </a:cubicBezTo>
                  <a:cubicBezTo>
                    <a:pt x="44" y="0"/>
                    <a:pt x="47" y="0"/>
                    <a:pt x="50" y="1"/>
                  </a:cubicBezTo>
                  <a:cubicBezTo>
                    <a:pt x="53" y="1"/>
                    <a:pt x="56" y="2"/>
                    <a:pt x="58" y="3"/>
                  </a:cubicBezTo>
                  <a:cubicBezTo>
                    <a:pt x="60" y="3"/>
                    <a:pt x="62" y="4"/>
                    <a:pt x="63" y="5"/>
                  </a:cubicBezTo>
                  <a:cubicBezTo>
                    <a:pt x="65" y="5"/>
                    <a:pt x="66" y="6"/>
                    <a:pt x="66" y="6"/>
                  </a:cubicBezTo>
                  <a:cubicBezTo>
                    <a:pt x="61" y="21"/>
                    <a:pt x="61" y="21"/>
                    <a:pt x="61" y="21"/>
                  </a:cubicBezTo>
                  <a:cubicBezTo>
                    <a:pt x="59" y="19"/>
                    <a:pt x="56" y="18"/>
                    <a:pt x="53" y="17"/>
                  </a:cubicBezTo>
                  <a:cubicBezTo>
                    <a:pt x="50" y="16"/>
                    <a:pt x="46" y="16"/>
                    <a:pt x="42" y="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4">
              <a:extLst>
                <a:ext uri="{FF2B5EF4-FFF2-40B4-BE49-F238E27FC236}">
                  <a16:creationId xmlns:a16="http://schemas.microsoft.com/office/drawing/2014/main" id="{F3AF16F3-E967-A2D2-50A8-FA29834C3F8F}"/>
                </a:ext>
              </a:extLst>
            </p:cNvPr>
            <p:cNvSpPr>
              <a:spLocks/>
            </p:cNvSpPr>
            <p:nvPr userDrawn="1"/>
          </p:nvSpPr>
          <p:spPr bwMode="auto">
            <a:xfrm>
              <a:off x="9786938" y="6122988"/>
              <a:ext cx="136525" cy="193675"/>
            </a:xfrm>
            <a:custGeom>
              <a:avLst/>
              <a:gdLst>
                <a:gd name="T0" fmla="*/ 0 w 86"/>
                <a:gd name="T1" fmla="*/ 122 h 122"/>
                <a:gd name="T2" fmla="*/ 0 w 86"/>
                <a:gd name="T3" fmla="*/ 0 h 122"/>
                <a:gd name="T4" fmla="*/ 82 w 86"/>
                <a:gd name="T5" fmla="*/ 0 h 122"/>
                <a:gd name="T6" fmla="*/ 82 w 86"/>
                <a:gd name="T7" fmla="*/ 23 h 122"/>
                <a:gd name="T8" fmla="*/ 27 w 86"/>
                <a:gd name="T9" fmla="*/ 23 h 122"/>
                <a:gd name="T10" fmla="*/ 27 w 86"/>
                <a:gd name="T11" fmla="*/ 47 h 122"/>
                <a:gd name="T12" fmla="*/ 76 w 86"/>
                <a:gd name="T13" fmla="*/ 47 h 122"/>
                <a:gd name="T14" fmla="*/ 76 w 86"/>
                <a:gd name="T15" fmla="*/ 69 h 122"/>
                <a:gd name="T16" fmla="*/ 27 w 86"/>
                <a:gd name="T17" fmla="*/ 69 h 122"/>
                <a:gd name="T18" fmla="*/ 27 w 86"/>
                <a:gd name="T19" fmla="*/ 99 h 122"/>
                <a:gd name="T20" fmla="*/ 86 w 86"/>
                <a:gd name="T21" fmla="*/ 99 h 122"/>
                <a:gd name="T22" fmla="*/ 86 w 86"/>
                <a:gd name="T23" fmla="*/ 122 h 122"/>
                <a:gd name="T24" fmla="*/ 0 w 86"/>
                <a:gd name="T25"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122">
                  <a:moveTo>
                    <a:pt x="0" y="122"/>
                  </a:moveTo>
                  <a:lnTo>
                    <a:pt x="0" y="0"/>
                  </a:lnTo>
                  <a:lnTo>
                    <a:pt x="82" y="0"/>
                  </a:lnTo>
                  <a:lnTo>
                    <a:pt x="82" y="23"/>
                  </a:lnTo>
                  <a:lnTo>
                    <a:pt x="27" y="23"/>
                  </a:lnTo>
                  <a:lnTo>
                    <a:pt x="27" y="47"/>
                  </a:lnTo>
                  <a:lnTo>
                    <a:pt x="76" y="47"/>
                  </a:lnTo>
                  <a:lnTo>
                    <a:pt x="76" y="69"/>
                  </a:lnTo>
                  <a:lnTo>
                    <a:pt x="27" y="69"/>
                  </a:lnTo>
                  <a:lnTo>
                    <a:pt x="27" y="99"/>
                  </a:lnTo>
                  <a:lnTo>
                    <a:pt x="86" y="99"/>
                  </a:lnTo>
                  <a:lnTo>
                    <a:pt x="86" y="122"/>
                  </a:lnTo>
                  <a:lnTo>
                    <a:pt x="0" y="12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15">
              <a:extLst>
                <a:ext uri="{FF2B5EF4-FFF2-40B4-BE49-F238E27FC236}">
                  <a16:creationId xmlns:a16="http://schemas.microsoft.com/office/drawing/2014/main" id="{CD06AB6E-D955-FB8D-7A85-48E4867758C1}"/>
                </a:ext>
              </a:extLst>
            </p:cNvPr>
            <p:cNvSpPr>
              <a:spLocks/>
            </p:cNvSpPr>
            <p:nvPr userDrawn="1"/>
          </p:nvSpPr>
          <p:spPr bwMode="auto">
            <a:xfrm>
              <a:off x="9937751" y="6122988"/>
              <a:ext cx="158750" cy="193675"/>
            </a:xfrm>
            <a:custGeom>
              <a:avLst/>
              <a:gdLst>
                <a:gd name="T0" fmla="*/ 100 w 100"/>
                <a:gd name="T1" fmla="*/ 0 h 122"/>
                <a:gd name="T2" fmla="*/ 100 w 100"/>
                <a:gd name="T3" fmla="*/ 23 h 122"/>
                <a:gd name="T4" fmla="*/ 64 w 100"/>
                <a:gd name="T5" fmla="*/ 23 h 122"/>
                <a:gd name="T6" fmla="*/ 64 w 100"/>
                <a:gd name="T7" fmla="*/ 122 h 122"/>
                <a:gd name="T8" fmla="*/ 37 w 100"/>
                <a:gd name="T9" fmla="*/ 122 h 122"/>
                <a:gd name="T10" fmla="*/ 37 w 100"/>
                <a:gd name="T11" fmla="*/ 23 h 122"/>
                <a:gd name="T12" fmla="*/ 0 w 100"/>
                <a:gd name="T13" fmla="*/ 23 h 122"/>
                <a:gd name="T14" fmla="*/ 0 w 100"/>
                <a:gd name="T15" fmla="*/ 0 h 122"/>
                <a:gd name="T16" fmla="*/ 100 w 100"/>
                <a:gd name="T1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22">
                  <a:moveTo>
                    <a:pt x="100" y="0"/>
                  </a:moveTo>
                  <a:lnTo>
                    <a:pt x="100" y="23"/>
                  </a:lnTo>
                  <a:lnTo>
                    <a:pt x="64" y="23"/>
                  </a:lnTo>
                  <a:lnTo>
                    <a:pt x="64" y="122"/>
                  </a:lnTo>
                  <a:lnTo>
                    <a:pt x="37" y="122"/>
                  </a:lnTo>
                  <a:lnTo>
                    <a:pt x="37" y="23"/>
                  </a:lnTo>
                  <a:lnTo>
                    <a:pt x="0" y="23"/>
                  </a:lnTo>
                  <a:lnTo>
                    <a:pt x="0" y="0"/>
                  </a:lnTo>
                  <a:lnTo>
                    <a:pt x="10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16">
              <a:extLst>
                <a:ext uri="{FF2B5EF4-FFF2-40B4-BE49-F238E27FC236}">
                  <a16:creationId xmlns:a16="http://schemas.microsoft.com/office/drawing/2014/main" id="{65435268-41E6-4A90-38BC-6BB0E45D746D}"/>
                </a:ext>
              </a:extLst>
            </p:cNvPr>
            <p:cNvSpPr>
              <a:spLocks/>
            </p:cNvSpPr>
            <p:nvPr userDrawn="1"/>
          </p:nvSpPr>
          <p:spPr bwMode="auto">
            <a:xfrm>
              <a:off x="10174288" y="6122988"/>
              <a:ext cx="158750" cy="193675"/>
            </a:xfrm>
            <a:custGeom>
              <a:avLst/>
              <a:gdLst>
                <a:gd name="T0" fmla="*/ 100 w 100"/>
                <a:gd name="T1" fmla="*/ 0 h 122"/>
                <a:gd name="T2" fmla="*/ 100 w 100"/>
                <a:gd name="T3" fmla="*/ 23 h 122"/>
                <a:gd name="T4" fmla="*/ 64 w 100"/>
                <a:gd name="T5" fmla="*/ 23 h 122"/>
                <a:gd name="T6" fmla="*/ 64 w 100"/>
                <a:gd name="T7" fmla="*/ 122 h 122"/>
                <a:gd name="T8" fmla="*/ 36 w 100"/>
                <a:gd name="T9" fmla="*/ 122 h 122"/>
                <a:gd name="T10" fmla="*/ 36 w 100"/>
                <a:gd name="T11" fmla="*/ 23 h 122"/>
                <a:gd name="T12" fmla="*/ 0 w 100"/>
                <a:gd name="T13" fmla="*/ 23 h 122"/>
                <a:gd name="T14" fmla="*/ 0 w 100"/>
                <a:gd name="T15" fmla="*/ 0 h 122"/>
                <a:gd name="T16" fmla="*/ 100 w 100"/>
                <a:gd name="T1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22">
                  <a:moveTo>
                    <a:pt x="100" y="0"/>
                  </a:moveTo>
                  <a:lnTo>
                    <a:pt x="100" y="23"/>
                  </a:lnTo>
                  <a:lnTo>
                    <a:pt x="64" y="23"/>
                  </a:lnTo>
                  <a:lnTo>
                    <a:pt x="64" y="122"/>
                  </a:lnTo>
                  <a:lnTo>
                    <a:pt x="36" y="122"/>
                  </a:lnTo>
                  <a:lnTo>
                    <a:pt x="36" y="23"/>
                  </a:lnTo>
                  <a:lnTo>
                    <a:pt x="0" y="23"/>
                  </a:lnTo>
                  <a:lnTo>
                    <a:pt x="0" y="0"/>
                  </a:lnTo>
                  <a:lnTo>
                    <a:pt x="10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17">
              <a:extLst>
                <a:ext uri="{FF2B5EF4-FFF2-40B4-BE49-F238E27FC236}">
                  <a16:creationId xmlns:a16="http://schemas.microsoft.com/office/drawing/2014/main" id="{C3C29B2D-D27B-418D-F868-3422534EC1ED}"/>
                </a:ext>
              </a:extLst>
            </p:cNvPr>
            <p:cNvSpPr>
              <a:spLocks/>
            </p:cNvSpPr>
            <p:nvPr userDrawn="1"/>
          </p:nvSpPr>
          <p:spPr bwMode="auto">
            <a:xfrm>
              <a:off x="10361613" y="6122988"/>
              <a:ext cx="158750" cy="193675"/>
            </a:xfrm>
            <a:custGeom>
              <a:avLst/>
              <a:gdLst>
                <a:gd name="T0" fmla="*/ 73 w 100"/>
                <a:gd name="T1" fmla="*/ 0 h 122"/>
                <a:gd name="T2" fmla="*/ 100 w 100"/>
                <a:gd name="T3" fmla="*/ 0 h 122"/>
                <a:gd name="T4" fmla="*/ 100 w 100"/>
                <a:gd name="T5" fmla="*/ 122 h 122"/>
                <a:gd name="T6" fmla="*/ 73 w 100"/>
                <a:gd name="T7" fmla="*/ 122 h 122"/>
                <a:gd name="T8" fmla="*/ 73 w 100"/>
                <a:gd name="T9" fmla="*/ 70 h 122"/>
                <a:gd name="T10" fmla="*/ 28 w 100"/>
                <a:gd name="T11" fmla="*/ 70 h 122"/>
                <a:gd name="T12" fmla="*/ 28 w 100"/>
                <a:gd name="T13" fmla="*/ 122 h 122"/>
                <a:gd name="T14" fmla="*/ 0 w 100"/>
                <a:gd name="T15" fmla="*/ 122 h 122"/>
                <a:gd name="T16" fmla="*/ 0 w 100"/>
                <a:gd name="T17" fmla="*/ 0 h 122"/>
                <a:gd name="T18" fmla="*/ 28 w 100"/>
                <a:gd name="T19" fmla="*/ 0 h 122"/>
                <a:gd name="T20" fmla="*/ 28 w 100"/>
                <a:gd name="T21" fmla="*/ 46 h 122"/>
                <a:gd name="T22" fmla="*/ 73 w 100"/>
                <a:gd name="T23" fmla="*/ 46 h 122"/>
                <a:gd name="T24" fmla="*/ 73 w 100"/>
                <a:gd name="T25"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 h="122">
                  <a:moveTo>
                    <a:pt x="73" y="0"/>
                  </a:moveTo>
                  <a:lnTo>
                    <a:pt x="100" y="0"/>
                  </a:lnTo>
                  <a:lnTo>
                    <a:pt x="100" y="122"/>
                  </a:lnTo>
                  <a:lnTo>
                    <a:pt x="73" y="122"/>
                  </a:lnTo>
                  <a:lnTo>
                    <a:pt x="73" y="70"/>
                  </a:lnTo>
                  <a:lnTo>
                    <a:pt x="28" y="70"/>
                  </a:lnTo>
                  <a:lnTo>
                    <a:pt x="28" y="122"/>
                  </a:lnTo>
                  <a:lnTo>
                    <a:pt x="0" y="122"/>
                  </a:lnTo>
                  <a:lnTo>
                    <a:pt x="0" y="0"/>
                  </a:lnTo>
                  <a:lnTo>
                    <a:pt x="28" y="0"/>
                  </a:lnTo>
                  <a:lnTo>
                    <a:pt x="28" y="46"/>
                  </a:lnTo>
                  <a:lnTo>
                    <a:pt x="73" y="46"/>
                  </a:lnTo>
                  <a:lnTo>
                    <a:pt x="73"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18">
              <a:extLst>
                <a:ext uri="{FF2B5EF4-FFF2-40B4-BE49-F238E27FC236}">
                  <a16:creationId xmlns:a16="http://schemas.microsoft.com/office/drawing/2014/main" id="{CA811C77-F6D8-F303-4C67-E3E3F44FB40D}"/>
                </a:ext>
              </a:extLst>
            </p:cNvPr>
            <p:cNvSpPr>
              <a:spLocks/>
            </p:cNvSpPr>
            <p:nvPr userDrawn="1"/>
          </p:nvSpPr>
          <p:spPr bwMode="auto">
            <a:xfrm>
              <a:off x="10564813" y="6122988"/>
              <a:ext cx="134938" cy="193675"/>
            </a:xfrm>
            <a:custGeom>
              <a:avLst/>
              <a:gdLst>
                <a:gd name="T0" fmla="*/ 0 w 85"/>
                <a:gd name="T1" fmla="*/ 122 h 122"/>
                <a:gd name="T2" fmla="*/ 0 w 85"/>
                <a:gd name="T3" fmla="*/ 0 h 122"/>
                <a:gd name="T4" fmla="*/ 82 w 85"/>
                <a:gd name="T5" fmla="*/ 0 h 122"/>
                <a:gd name="T6" fmla="*/ 82 w 85"/>
                <a:gd name="T7" fmla="*/ 23 h 122"/>
                <a:gd name="T8" fmla="*/ 27 w 85"/>
                <a:gd name="T9" fmla="*/ 23 h 122"/>
                <a:gd name="T10" fmla="*/ 27 w 85"/>
                <a:gd name="T11" fmla="*/ 47 h 122"/>
                <a:gd name="T12" fmla="*/ 75 w 85"/>
                <a:gd name="T13" fmla="*/ 47 h 122"/>
                <a:gd name="T14" fmla="*/ 75 w 85"/>
                <a:gd name="T15" fmla="*/ 69 h 122"/>
                <a:gd name="T16" fmla="*/ 27 w 85"/>
                <a:gd name="T17" fmla="*/ 69 h 122"/>
                <a:gd name="T18" fmla="*/ 27 w 85"/>
                <a:gd name="T19" fmla="*/ 99 h 122"/>
                <a:gd name="T20" fmla="*/ 85 w 85"/>
                <a:gd name="T21" fmla="*/ 99 h 122"/>
                <a:gd name="T22" fmla="*/ 85 w 85"/>
                <a:gd name="T23" fmla="*/ 122 h 122"/>
                <a:gd name="T24" fmla="*/ 0 w 85"/>
                <a:gd name="T25"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22">
                  <a:moveTo>
                    <a:pt x="0" y="122"/>
                  </a:moveTo>
                  <a:lnTo>
                    <a:pt x="0" y="0"/>
                  </a:lnTo>
                  <a:lnTo>
                    <a:pt x="82" y="0"/>
                  </a:lnTo>
                  <a:lnTo>
                    <a:pt x="82" y="23"/>
                  </a:lnTo>
                  <a:lnTo>
                    <a:pt x="27" y="23"/>
                  </a:lnTo>
                  <a:lnTo>
                    <a:pt x="27" y="47"/>
                  </a:lnTo>
                  <a:lnTo>
                    <a:pt x="75" y="47"/>
                  </a:lnTo>
                  <a:lnTo>
                    <a:pt x="75" y="69"/>
                  </a:lnTo>
                  <a:lnTo>
                    <a:pt x="27" y="69"/>
                  </a:lnTo>
                  <a:lnTo>
                    <a:pt x="27" y="99"/>
                  </a:lnTo>
                  <a:lnTo>
                    <a:pt x="85" y="99"/>
                  </a:lnTo>
                  <a:lnTo>
                    <a:pt x="85" y="122"/>
                  </a:lnTo>
                  <a:lnTo>
                    <a:pt x="0" y="12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19">
              <a:extLst>
                <a:ext uri="{FF2B5EF4-FFF2-40B4-BE49-F238E27FC236}">
                  <a16:creationId xmlns:a16="http://schemas.microsoft.com/office/drawing/2014/main" id="{4A9DB3E8-47AB-8E62-D5AD-F05CD79023D8}"/>
                </a:ext>
              </a:extLst>
            </p:cNvPr>
            <p:cNvSpPr>
              <a:spLocks/>
            </p:cNvSpPr>
            <p:nvPr userDrawn="1"/>
          </p:nvSpPr>
          <p:spPr bwMode="auto">
            <a:xfrm>
              <a:off x="10798176" y="6122988"/>
              <a:ext cx="127000" cy="193675"/>
            </a:xfrm>
            <a:custGeom>
              <a:avLst/>
              <a:gdLst>
                <a:gd name="T0" fmla="*/ 0 w 80"/>
                <a:gd name="T1" fmla="*/ 122 h 122"/>
                <a:gd name="T2" fmla="*/ 0 w 80"/>
                <a:gd name="T3" fmla="*/ 0 h 122"/>
                <a:gd name="T4" fmla="*/ 80 w 80"/>
                <a:gd name="T5" fmla="*/ 0 h 122"/>
                <a:gd name="T6" fmla="*/ 80 w 80"/>
                <a:gd name="T7" fmla="*/ 23 h 122"/>
                <a:gd name="T8" fmla="*/ 27 w 80"/>
                <a:gd name="T9" fmla="*/ 23 h 122"/>
                <a:gd name="T10" fmla="*/ 27 w 80"/>
                <a:gd name="T11" fmla="*/ 49 h 122"/>
                <a:gd name="T12" fmla="*/ 76 w 80"/>
                <a:gd name="T13" fmla="*/ 49 h 122"/>
                <a:gd name="T14" fmla="*/ 76 w 80"/>
                <a:gd name="T15" fmla="*/ 72 h 122"/>
                <a:gd name="T16" fmla="*/ 27 w 80"/>
                <a:gd name="T17" fmla="*/ 72 h 122"/>
                <a:gd name="T18" fmla="*/ 27 w 80"/>
                <a:gd name="T19" fmla="*/ 122 h 122"/>
                <a:gd name="T20" fmla="*/ 0 w 80"/>
                <a:gd name="T21"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122">
                  <a:moveTo>
                    <a:pt x="0" y="122"/>
                  </a:moveTo>
                  <a:lnTo>
                    <a:pt x="0" y="0"/>
                  </a:lnTo>
                  <a:lnTo>
                    <a:pt x="80" y="0"/>
                  </a:lnTo>
                  <a:lnTo>
                    <a:pt x="80" y="23"/>
                  </a:lnTo>
                  <a:lnTo>
                    <a:pt x="27" y="23"/>
                  </a:lnTo>
                  <a:lnTo>
                    <a:pt x="27" y="49"/>
                  </a:lnTo>
                  <a:lnTo>
                    <a:pt x="76" y="49"/>
                  </a:lnTo>
                  <a:lnTo>
                    <a:pt x="76" y="72"/>
                  </a:lnTo>
                  <a:lnTo>
                    <a:pt x="27" y="72"/>
                  </a:lnTo>
                  <a:lnTo>
                    <a:pt x="27" y="122"/>
                  </a:lnTo>
                  <a:lnTo>
                    <a:pt x="0" y="12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5" name="Freeform 20">
              <a:extLst>
                <a:ext uri="{FF2B5EF4-FFF2-40B4-BE49-F238E27FC236}">
                  <a16:creationId xmlns:a16="http://schemas.microsoft.com/office/drawing/2014/main" id="{72DEEE32-1381-1D64-BA65-1028F5249D66}"/>
                </a:ext>
              </a:extLst>
            </p:cNvPr>
            <p:cNvSpPr>
              <a:spLocks/>
            </p:cNvSpPr>
            <p:nvPr userDrawn="1"/>
          </p:nvSpPr>
          <p:spPr bwMode="auto">
            <a:xfrm>
              <a:off x="10953751" y="6122988"/>
              <a:ext cx="157163" cy="196850"/>
            </a:xfrm>
            <a:custGeom>
              <a:avLst/>
              <a:gdLst>
                <a:gd name="T0" fmla="*/ 32 w 65"/>
                <a:gd name="T1" fmla="*/ 81 h 81"/>
                <a:gd name="T2" fmla="*/ 18 w 65"/>
                <a:gd name="T3" fmla="*/ 79 h 81"/>
                <a:gd name="T4" fmla="*/ 8 w 65"/>
                <a:gd name="T5" fmla="*/ 72 h 81"/>
                <a:gd name="T6" fmla="*/ 2 w 65"/>
                <a:gd name="T7" fmla="*/ 62 h 81"/>
                <a:gd name="T8" fmla="*/ 0 w 65"/>
                <a:gd name="T9" fmla="*/ 49 h 81"/>
                <a:gd name="T10" fmla="*/ 0 w 65"/>
                <a:gd name="T11" fmla="*/ 0 h 81"/>
                <a:gd name="T12" fmla="*/ 18 w 65"/>
                <a:gd name="T13" fmla="*/ 0 h 81"/>
                <a:gd name="T14" fmla="*/ 18 w 65"/>
                <a:gd name="T15" fmla="*/ 48 h 81"/>
                <a:gd name="T16" fmla="*/ 19 w 65"/>
                <a:gd name="T17" fmla="*/ 56 h 81"/>
                <a:gd name="T18" fmla="*/ 22 w 65"/>
                <a:gd name="T19" fmla="*/ 62 h 81"/>
                <a:gd name="T20" fmla="*/ 27 w 65"/>
                <a:gd name="T21" fmla="*/ 65 h 81"/>
                <a:gd name="T22" fmla="*/ 32 w 65"/>
                <a:gd name="T23" fmla="*/ 66 h 81"/>
                <a:gd name="T24" fmla="*/ 43 w 65"/>
                <a:gd name="T25" fmla="*/ 62 h 81"/>
                <a:gd name="T26" fmla="*/ 47 w 65"/>
                <a:gd name="T27" fmla="*/ 48 h 81"/>
                <a:gd name="T28" fmla="*/ 47 w 65"/>
                <a:gd name="T29" fmla="*/ 0 h 81"/>
                <a:gd name="T30" fmla="*/ 65 w 65"/>
                <a:gd name="T31" fmla="*/ 0 h 81"/>
                <a:gd name="T32" fmla="*/ 65 w 65"/>
                <a:gd name="T33" fmla="*/ 49 h 81"/>
                <a:gd name="T34" fmla="*/ 63 w 65"/>
                <a:gd name="T35" fmla="*/ 62 h 81"/>
                <a:gd name="T36" fmla="*/ 57 w 65"/>
                <a:gd name="T37" fmla="*/ 72 h 81"/>
                <a:gd name="T38" fmla="*/ 47 w 65"/>
                <a:gd name="T39" fmla="*/ 79 h 81"/>
                <a:gd name="T40" fmla="*/ 32 w 65"/>
                <a:gd name="T4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81">
                  <a:moveTo>
                    <a:pt x="32" y="81"/>
                  </a:moveTo>
                  <a:cubicBezTo>
                    <a:pt x="27" y="81"/>
                    <a:pt x="22" y="80"/>
                    <a:pt x="18" y="79"/>
                  </a:cubicBezTo>
                  <a:cubicBezTo>
                    <a:pt x="14" y="77"/>
                    <a:pt x="10" y="75"/>
                    <a:pt x="8" y="72"/>
                  </a:cubicBezTo>
                  <a:cubicBezTo>
                    <a:pt x="5" y="69"/>
                    <a:pt x="3" y="66"/>
                    <a:pt x="2" y="62"/>
                  </a:cubicBezTo>
                  <a:cubicBezTo>
                    <a:pt x="1" y="58"/>
                    <a:pt x="0" y="54"/>
                    <a:pt x="0" y="49"/>
                  </a:cubicBezTo>
                  <a:cubicBezTo>
                    <a:pt x="0" y="0"/>
                    <a:pt x="0" y="0"/>
                    <a:pt x="0" y="0"/>
                  </a:cubicBezTo>
                  <a:cubicBezTo>
                    <a:pt x="18" y="0"/>
                    <a:pt x="18" y="0"/>
                    <a:pt x="18" y="0"/>
                  </a:cubicBezTo>
                  <a:cubicBezTo>
                    <a:pt x="18" y="48"/>
                    <a:pt x="18" y="48"/>
                    <a:pt x="18" y="48"/>
                  </a:cubicBezTo>
                  <a:cubicBezTo>
                    <a:pt x="18" y="51"/>
                    <a:pt x="18" y="54"/>
                    <a:pt x="19" y="56"/>
                  </a:cubicBezTo>
                  <a:cubicBezTo>
                    <a:pt x="20" y="58"/>
                    <a:pt x="21" y="60"/>
                    <a:pt x="22" y="62"/>
                  </a:cubicBezTo>
                  <a:cubicBezTo>
                    <a:pt x="23" y="63"/>
                    <a:pt x="25" y="64"/>
                    <a:pt x="27" y="65"/>
                  </a:cubicBezTo>
                  <a:cubicBezTo>
                    <a:pt x="28" y="65"/>
                    <a:pt x="30" y="66"/>
                    <a:pt x="32" y="66"/>
                  </a:cubicBezTo>
                  <a:cubicBezTo>
                    <a:pt x="37" y="66"/>
                    <a:pt x="40" y="64"/>
                    <a:pt x="43" y="62"/>
                  </a:cubicBezTo>
                  <a:cubicBezTo>
                    <a:pt x="46" y="59"/>
                    <a:pt x="47" y="54"/>
                    <a:pt x="47" y="48"/>
                  </a:cubicBezTo>
                  <a:cubicBezTo>
                    <a:pt x="47" y="0"/>
                    <a:pt x="47" y="0"/>
                    <a:pt x="47" y="0"/>
                  </a:cubicBezTo>
                  <a:cubicBezTo>
                    <a:pt x="65" y="0"/>
                    <a:pt x="65" y="0"/>
                    <a:pt x="65" y="0"/>
                  </a:cubicBezTo>
                  <a:cubicBezTo>
                    <a:pt x="65" y="49"/>
                    <a:pt x="65" y="49"/>
                    <a:pt x="65" y="49"/>
                  </a:cubicBezTo>
                  <a:cubicBezTo>
                    <a:pt x="65" y="54"/>
                    <a:pt x="64" y="58"/>
                    <a:pt x="63" y="62"/>
                  </a:cubicBezTo>
                  <a:cubicBezTo>
                    <a:pt x="62" y="66"/>
                    <a:pt x="60" y="70"/>
                    <a:pt x="57" y="72"/>
                  </a:cubicBezTo>
                  <a:cubicBezTo>
                    <a:pt x="54" y="75"/>
                    <a:pt x="51" y="77"/>
                    <a:pt x="47" y="79"/>
                  </a:cubicBezTo>
                  <a:cubicBezTo>
                    <a:pt x="43" y="80"/>
                    <a:pt x="38" y="81"/>
                    <a:pt x="32" y="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21">
              <a:extLst>
                <a:ext uri="{FF2B5EF4-FFF2-40B4-BE49-F238E27FC236}">
                  <a16:creationId xmlns:a16="http://schemas.microsoft.com/office/drawing/2014/main" id="{111111C2-8124-D547-CA49-76C83DBDE555}"/>
                </a:ext>
              </a:extLst>
            </p:cNvPr>
            <p:cNvSpPr>
              <a:spLocks/>
            </p:cNvSpPr>
            <p:nvPr userDrawn="1"/>
          </p:nvSpPr>
          <p:spPr bwMode="auto">
            <a:xfrm>
              <a:off x="11134726" y="6122988"/>
              <a:ext cx="158750" cy="193675"/>
            </a:xfrm>
            <a:custGeom>
              <a:avLst/>
              <a:gdLst>
                <a:gd name="T0" fmla="*/ 100 w 100"/>
                <a:gd name="T1" fmla="*/ 0 h 122"/>
                <a:gd name="T2" fmla="*/ 100 w 100"/>
                <a:gd name="T3" fmla="*/ 23 h 122"/>
                <a:gd name="T4" fmla="*/ 64 w 100"/>
                <a:gd name="T5" fmla="*/ 23 h 122"/>
                <a:gd name="T6" fmla="*/ 64 w 100"/>
                <a:gd name="T7" fmla="*/ 122 h 122"/>
                <a:gd name="T8" fmla="*/ 37 w 100"/>
                <a:gd name="T9" fmla="*/ 122 h 122"/>
                <a:gd name="T10" fmla="*/ 37 w 100"/>
                <a:gd name="T11" fmla="*/ 23 h 122"/>
                <a:gd name="T12" fmla="*/ 0 w 100"/>
                <a:gd name="T13" fmla="*/ 23 h 122"/>
                <a:gd name="T14" fmla="*/ 0 w 100"/>
                <a:gd name="T15" fmla="*/ 0 h 122"/>
                <a:gd name="T16" fmla="*/ 100 w 100"/>
                <a:gd name="T1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22">
                  <a:moveTo>
                    <a:pt x="100" y="0"/>
                  </a:moveTo>
                  <a:lnTo>
                    <a:pt x="100" y="23"/>
                  </a:lnTo>
                  <a:lnTo>
                    <a:pt x="64" y="23"/>
                  </a:lnTo>
                  <a:lnTo>
                    <a:pt x="64" y="122"/>
                  </a:lnTo>
                  <a:lnTo>
                    <a:pt x="37" y="122"/>
                  </a:lnTo>
                  <a:lnTo>
                    <a:pt x="37" y="23"/>
                  </a:lnTo>
                  <a:lnTo>
                    <a:pt x="0" y="23"/>
                  </a:lnTo>
                  <a:lnTo>
                    <a:pt x="0" y="0"/>
                  </a:lnTo>
                  <a:lnTo>
                    <a:pt x="10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22">
              <a:extLst>
                <a:ext uri="{FF2B5EF4-FFF2-40B4-BE49-F238E27FC236}">
                  <a16:creationId xmlns:a16="http://schemas.microsoft.com/office/drawing/2014/main" id="{03638E0D-F225-0AAD-5CF0-2CACF6C8688D}"/>
                </a:ext>
              </a:extLst>
            </p:cNvPr>
            <p:cNvSpPr>
              <a:spLocks/>
            </p:cNvSpPr>
            <p:nvPr userDrawn="1"/>
          </p:nvSpPr>
          <p:spPr bwMode="auto">
            <a:xfrm>
              <a:off x="11320463" y="6122988"/>
              <a:ext cx="157163" cy="196850"/>
            </a:xfrm>
            <a:custGeom>
              <a:avLst/>
              <a:gdLst>
                <a:gd name="T0" fmla="*/ 32 w 65"/>
                <a:gd name="T1" fmla="*/ 81 h 81"/>
                <a:gd name="T2" fmla="*/ 18 w 65"/>
                <a:gd name="T3" fmla="*/ 79 h 81"/>
                <a:gd name="T4" fmla="*/ 7 w 65"/>
                <a:gd name="T5" fmla="*/ 72 h 81"/>
                <a:gd name="T6" fmla="*/ 2 w 65"/>
                <a:gd name="T7" fmla="*/ 62 h 81"/>
                <a:gd name="T8" fmla="*/ 0 w 65"/>
                <a:gd name="T9" fmla="*/ 49 h 81"/>
                <a:gd name="T10" fmla="*/ 0 w 65"/>
                <a:gd name="T11" fmla="*/ 0 h 81"/>
                <a:gd name="T12" fmla="*/ 18 w 65"/>
                <a:gd name="T13" fmla="*/ 0 h 81"/>
                <a:gd name="T14" fmla="*/ 18 w 65"/>
                <a:gd name="T15" fmla="*/ 48 h 81"/>
                <a:gd name="T16" fmla="*/ 19 w 65"/>
                <a:gd name="T17" fmla="*/ 56 h 81"/>
                <a:gd name="T18" fmla="*/ 22 w 65"/>
                <a:gd name="T19" fmla="*/ 62 h 81"/>
                <a:gd name="T20" fmla="*/ 26 w 65"/>
                <a:gd name="T21" fmla="*/ 65 h 81"/>
                <a:gd name="T22" fmla="*/ 32 w 65"/>
                <a:gd name="T23" fmla="*/ 66 h 81"/>
                <a:gd name="T24" fmla="*/ 43 w 65"/>
                <a:gd name="T25" fmla="*/ 62 h 81"/>
                <a:gd name="T26" fmla="*/ 47 w 65"/>
                <a:gd name="T27" fmla="*/ 48 h 81"/>
                <a:gd name="T28" fmla="*/ 47 w 65"/>
                <a:gd name="T29" fmla="*/ 0 h 81"/>
                <a:gd name="T30" fmla="*/ 65 w 65"/>
                <a:gd name="T31" fmla="*/ 0 h 81"/>
                <a:gd name="T32" fmla="*/ 65 w 65"/>
                <a:gd name="T33" fmla="*/ 49 h 81"/>
                <a:gd name="T34" fmla="*/ 63 w 65"/>
                <a:gd name="T35" fmla="*/ 62 h 81"/>
                <a:gd name="T36" fmla="*/ 57 w 65"/>
                <a:gd name="T37" fmla="*/ 72 h 81"/>
                <a:gd name="T38" fmla="*/ 47 w 65"/>
                <a:gd name="T39" fmla="*/ 79 h 81"/>
                <a:gd name="T40" fmla="*/ 32 w 65"/>
                <a:gd name="T4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81">
                  <a:moveTo>
                    <a:pt x="32" y="81"/>
                  </a:moveTo>
                  <a:cubicBezTo>
                    <a:pt x="26" y="81"/>
                    <a:pt x="22" y="80"/>
                    <a:pt x="18" y="79"/>
                  </a:cubicBezTo>
                  <a:cubicBezTo>
                    <a:pt x="13" y="77"/>
                    <a:pt x="10" y="75"/>
                    <a:pt x="7" y="72"/>
                  </a:cubicBezTo>
                  <a:cubicBezTo>
                    <a:pt x="5" y="69"/>
                    <a:pt x="3" y="66"/>
                    <a:pt x="2" y="62"/>
                  </a:cubicBezTo>
                  <a:cubicBezTo>
                    <a:pt x="0" y="58"/>
                    <a:pt x="0" y="54"/>
                    <a:pt x="0" y="49"/>
                  </a:cubicBezTo>
                  <a:cubicBezTo>
                    <a:pt x="0" y="0"/>
                    <a:pt x="0" y="0"/>
                    <a:pt x="0" y="0"/>
                  </a:cubicBezTo>
                  <a:cubicBezTo>
                    <a:pt x="18" y="0"/>
                    <a:pt x="18" y="0"/>
                    <a:pt x="18" y="0"/>
                  </a:cubicBezTo>
                  <a:cubicBezTo>
                    <a:pt x="18" y="48"/>
                    <a:pt x="18" y="48"/>
                    <a:pt x="18" y="48"/>
                  </a:cubicBezTo>
                  <a:cubicBezTo>
                    <a:pt x="18" y="51"/>
                    <a:pt x="18" y="54"/>
                    <a:pt x="19" y="56"/>
                  </a:cubicBezTo>
                  <a:cubicBezTo>
                    <a:pt x="19" y="58"/>
                    <a:pt x="20" y="60"/>
                    <a:pt x="22" y="62"/>
                  </a:cubicBezTo>
                  <a:cubicBezTo>
                    <a:pt x="23" y="63"/>
                    <a:pt x="25" y="64"/>
                    <a:pt x="26" y="65"/>
                  </a:cubicBezTo>
                  <a:cubicBezTo>
                    <a:pt x="28" y="65"/>
                    <a:pt x="30" y="66"/>
                    <a:pt x="32" y="66"/>
                  </a:cubicBezTo>
                  <a:cubicBezTo>
                    <a:pt x="37" y="66"/>
                    <a:pt x="40" y="64"/>
                    <a:pt x="43" y="62"/>
                  </a:cubicBezTo>
                  <a:cubicBezTo>
                    <a:pt x="46" y="59"/>
                    <a:pt x="47" y="54"/>
                    <a:pt x="47" y="48"/>
                  </a:cubicBezTo>
                  <a:cubicBezTo>
                    <a:pt x="47" y="0"/>
                    <a:pt x="47" y="0"/>
                    <a:pt x="47" y="0"/>
                  </a:cubicBezTo>
                  <a:cubicBezTo>
                    <a:pt x="65" y="0"/>
                    <a:pt x="65" y="0"/>
                    <a:pt x="65" y="0"/>
                  </a:cubicBezTo>
                  <a:cubicBezTo>
                    <a:pt x="65" y="49"/>
                    <a:pt x="65" y="49"/>
                    <a:pt x="65" y="49"/>
                  </a:cubicBezTo>
                  <a:cubicBezTo>
                    <a:pt x="65" y="54"/>
                    <a:pt x="64" y="58"/>
                    <a:pt x="63" y="62"/>
                  </a:cubicBezTo>
                  <a:cubicBezTo>
                    <a:pt x="62" y="66"/>
                    <a:pt x="60" y="70"/>
                    <a:pt x="57" y="72"/>
                  </a:cubicBezTo>
                  <a:cubicBezTo>
                    <a:pt x="54" y="75"/>
                    <a:pt x="51" y="77"/>
                    <a:pt x="47" y="79"/>
                  </a:cubicBezTo>
                  <a:cubicBezTo>
                    <a:pt x="43" y="80"/>
                    <a:pt x="38" y="81"/>
                    <a:pt x="32" y="8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23">
              <a:extLst>
                <a:ext uri="{FF2B5EF4-FFF2-40B4-BE49-F238E27FC236}">
                  <a16:creationId xmlns:a16="http://schemas.microsoft.com/office/drawing/2014/main" id="{CBA6EA30-96A1-B30A-246B-979DFBD8A41A}"/>
                </a:ext>
              </a:extLst>
            </p:cNvPr>
            <p:cNvSpPr>
              <a:spLocks noEditPoints="1"/>
            </p:cNvSpPr>
            <p:nvPr userDrawn="1"/>
          </p:nvSpPr>
          <p:spPr bwMode="auto">
            <a:xfrm>
              <a:off x="11517313" y="6121401"/>
              <a:ext cx="157163" cy="195263"/>
            </a:xfrm>
            <a:custGeom>
              <a:avLst/>
              <a:gdLst>
                <a:gd name="T0" fmla="*/ 23 w 65"/>
                <a:gd name="T1" fmla="*/ 0 h 81"/>
                <a:gd name="T2" fmla="*/ 51 w 65"/>
                <a:gd name="T3" fmla="*/ 6 h 81"/>
                <a:gd name="T4" fmla="*/ 60 w 65"/>
                <a:gd name="T5" fmla="*/ 26 h 81"/>
                <a:gd name="T6" fmla="*/ 57 w 65"/>
                <a:gd name="T7" fmla="*/ 40 h 81"/>
                <a:gd name="T8" fmla="*/ 45 w 65"/>
                <a:gd name="T9" fmla="*/ 48 h 81"/>
                <a:gd name="T10" fmla="*/ 51 w 65"/>
                <a:gd name="T11" fmla="*/ 55 h 81"/>
                <a:gd name="T12" fmla="*/ 56 w 65"/>
                <a:gd name="T13" fmla="*/ 63 h 81"/>
                <a:gd name="T14" fmla="*/ 61 w 65"/>
                <a:gd name="T15" fmla="*/ 72 h 81"/>
                <a:gd name="T16" fmla="*/ 65 w 65"/>
                <a:gd name="T17" fmla="*/ 81 h 81"/>
                <a:gd name="T18" fmla="*/ 45 w 65"/>
                <a:gd name="T19" fmla="*/ 81 h 81"/>
                <a:gd name="T20" fmla="*/ 41 w 65"/>
                <a:gd name="T21" fmla="*/ 73 h 81"/>
                <a:gd name="T22" fmla="*/ 36 w 65"/>
                <a:gd name="T23" fmla="*/ 65 h 81"/>
                <a:gd name="T24" fmla="*/ 31 w 65"/>
                <a:gd name="T25" fmla="*/ 58 h 81"/>
                <a:gd name="T26" fmla="*/ 27 w 65"/>
                <a:gd name="T27" fmla="*/ 51 h 81"/>
                <a:gd name="T28" fmla="*/ 18 w 65"/>
                <a:gd name="T29" fmla="*/ 51 h 81"/>
                <a:gd name="T30" fmla="*/ 18 w 65"/>
                <a:gd name="T31" fmla="*/ 81 h 81"/>
                <a:gd name="T32" fmla="*/ 0 w 65"/>
                <a:gd name="T33" fmla="*/ 81 h 81"/>
                <a:gd name="T34" fmla="*/ 0 w 65"/>
                <a:gd name="T35" fmla="*/ 2 h 81"/>
                <a:gd name="T36" fmla="*/ 12 w 65"/>
                <a:gd name="T37" fmla="*/ 0 h 81"/>
                <a:gd name="T38" fmla="*/ 23 w 65"/>
                <a:gd name="T39" fmla="*/ 0 h 81"/>
                <a:gd name="T40" fmla="*/ 24 w 65"/>
                <a:gd name="T41" fmla="*/ 15 h 81"/>
                <a:gd name="T42" fmla="*/ 21 w 65"/>
                <a:gd name="T43" fmla="*/ 15 h 81"/>
                <a:gd name="T44" fmla="*/ 18 w 65"/>
                <a:gd name="T45" fmla="*/ 16 h 81"/>
                <a:gd name="T46" fmla="*/ 18 w 65"/>
                <a:gd name="T47" fmla="*/ 37 h 81"/>
                <a:gd name="T48" fmla="*/ 23 w 65"/>
                <a:gd name="T49" fmla="*/ 37 h 81"/>
                <a:gd name="T50" fmla="*/ 38 w 65"/>
                <a:gd name="T51" fmla="*/ 35 h 81"/>
                <a:gd name="T52" fmla="*/ 42 w 65"/>
                <a:gd name="T53" fmla="*/ 26 h 81"/>
                <a:gd name="T54" fmla="*/ 38 w 65"/>
                <a:gd name="T55" fmla="*/ 18 h 81"/>
                <a:gd name="T56" fmla="*/ 24 w 65"/>
                <a:gd name="T57" fmla="*/ 1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5" h="81">
                  <a:moveTo>
                    <a:pt x="23" y="0"/>
                  </a:moveTo>
                  <a:cubicBezTo>
                    <a:pt x="35" y="0"/>
                    <a:pt x="45" y="2"/>
                    <a:pt x="51" y="6"/>
                  </a:cubicBezTo>
                  <a:cubicBezTo>
                    <a:pt x="57" y="11"/>
                    <a:pt x="60" y="17"/>
                    <a:pt x="60" y="26"/>
                  </a:cubicBezTo>
                  <a:cubicBezTo>
                    <a:pt x="60" y="32"/>
                    <a:pt x="59" y="36"/>
                    <a:pt x="57" y="40"/>
                  </a:cubicBezTo>
                  <a:cubicBezTo>
                    <a:pt x="54" y="43"/>
                    <a:pt x="50" y="46"/>
                    <a:pt x="45" y="48"/>
                  </a:cubicBezTo>
                  <a:cubicBezTo>
                    <a:pt x="47" y="50"/>
                    <a:pt x="49" y="52"/>
                    <a:pt x="51" y="55"/>
                  </a:cubicBezTo>
                  <a:cubicBezTo>
                    <a:pt x="52" y="57"/>
                    <a:pt x="54" y="60"/>
                    <a:pt x="56" y="63"/>
                  </a:cubicBezTo>
                  <a:cubicBezTo>
                    <a:pt x="57" y="66"/>
                    <a:pt x="59" y="69"/>
                    <a:pt x="61" y="72"/>
                  </a:cubicBezTo>
                  <a:cubicBezTo>
                    <a:pt x="62" y="75"/>
                    <a:pt x="64" y="78"/>
                    <a:pt x="65" y="81"/>
                  </a:cubicBezTo>
                  <a:cubicBezTo>
                    <a:pt x="45" y="81"/>
                    <a:pt x="45" y="81"/>
                    <a:pt x="45" y="81"/>
                  </a:cubicBezTo>
                  <a:cubicBezTo>
                    <a:pt x="44" y="78"/>
                    <a:pt x="42" y="75"/>
                    <a:pt x="41" y="73"/>
                  </a:cubicBezTo>
                  <a:cubicBezTo>
                    <a:pt x="39" y="70"/>
                    <a:pt x="38" y="67"/>
                    <a:pt x="36" y="65"/>
                  </a:cubicBezTo>
                  <a:cubicBezTo>
                    <a:pt x="35" y="62"/>
                    <a:pt x="33" y="60"/>
                    <a:pt x="31" y="58"/>
                  </a:cubicBezTo>
                  <a:cubicBezTo>
                    <a:pt x="30" y="55"/>
                    <a:pt x="28" y="53"/>
                    <a:pt x="27" y="51"/>
                  </a:cubicBezTo>
                  <a:cubicBezTo>
                    <a:pt x="18" y="51"/>
                    <a:pt x="18" y="51"/>
                    <a:pt x="18" y="51"/>
                  </a:cubicBezTo>
                  <a:cubicBezTo>
                    <a:pt x="18" y="81"/>
                    <a:pt x="18" y="81"/>
                    <a:pt x="18" y="81"/>
                  </a:cubicBezTo>
                  <a:cubicBezTo>
                    <a:pt x="0" y="81"/>
                    <a:pt x="0" y="81"/>
                    <a:pt x="0" y="81"/>
                  </a:cubicBezTo>
                  <a:cubicBezTo>
                    <a:pt x="0" y="2"/>
                    <a:pt x="0" y="2"/>
                    <a:pt x="0" y="2"/>
                  </a:cubicBezTo>
                  <a:cubicBezTo>
                    <a:pt x="4" y="1"/>
                    <a:pt x="8" y="1"/>
                    <a:pt x="12" y="0"/>
                  </a:cubicBezTo>
                  <a:cubicBezTo>
                    <a:pt x="16" y="0"/>
                    <a:pt x="20" y="0"/>
                    <a:pt x="23" y="0"/>
                  </a:cubicBezTo>
                  <a:close/>
                  <a:moveTo>
                    <a:pt x="24" y="15"/>
                  </a:moveTo>
                  <a:cubicBezTo>
                    <a:pt x="23" y="15"/>
                    <a:pt x="22" y="15"/>
                    <a:pt x="21" y="15"/>
                  </a:cubicBezTo>
                  <a:cubicBezTo>
                    <a:pt x="20" y="15"/>
                    <a:pt x="19" y="16"/>
                    <a:pt x="18" y="16"/>
                  </a:cubicBezTo>
                  <a:cubicBezTo>
                    <a:pt x="18" y="37"/>
                    <a:pt x="18" y="37"/>
                    <a:pt x="18" y="37"/>
                  </a:cubicBezTo>
                  <a:cubicBezTo>
                    <a:pt x="23" y="37"/>
                    <a:pt x="23" y="37"/>
                    <a:pt x="23" y="37"/>
                  </a:cubicBezTo>
                  <a:cubicBezTo>
                    <a:pt x="30" y="37"/>
                    <a:pt x="35" y="36"/>
                    <a:pt x="38" y="35"/>
                  </a:cubicBezTo>
                  <a:cubicBezTo>
                    <a:pt x="40" y="33"/>
                    <a:pt x="42" y="30"/>
                    <a:pt x="42" y="26"/>
                  </a:cubicBezTo>
                  <a:cubicBezTo>
                    <a:pt x="42" y="22"/>
                    <a:pt x="40" y="19"/>
                    <a:pt x="38" y="18"/>
                  </a:cubicBezTo>
                  <a:cubicBezTo>
                    <a:pt x="35" y="16"/>
                    <a:pt x="30" y="15"/>
                    <a:pt x="24"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24">
              <a:extLst>
                <a:ext uri="{FF2B5EF4-FFF2-40B4-BE49-F238E27FC236}">
                  <a16:creationId xmlns:a16="http://schemas.microsoft.com/office/drawing/2014/main" id="{8370E962-4EA8-D767-7F59-C4D6594F1096}"/>
                </a:ext>
              </a:extLst>
            </p:cNvPr>
            <p:cNvSpPr>
              <a:spLocks/>
            </p:cNvSpPr>
            <p:nvPr userDrawn="1"/>
          </p:nvSpPr>
          <p:spPr bwMode="auto">
            <a:xfrm>
              <a:off x="11703051" y="6122988"/>
              <a:ext cx="134938" cy="193675"/>
            </a:xfrm>
            <a:custGeom>
              <a:avLst/>
              <a:gdLst>
                <a:gd name="T0" fmla="*/ 0 w 85"/>
                <a:gd name="T1" fmla="*/ 122 h 122"/>
                <a:gd name="T2" fmla="*/ 0 w 85"/>
                <a:gd name="T3" fmla="*/ 0 h 122"/>
                <a:gd name="T4" fmla="*/ 82 w 85"/>
                <a:gd name="T5" fmla="*/ 0 h 122"/>
                <a:gd name="T6" fmla="*/ 82 w 85"/>
                <a:gd name="T7" fmla="*/ 23 h 122"/>
                <a:gd name="T8" fmla="*/ 27 w 85"/>
                <a:gd name="T9" fmla="*/ 23 h 122"/>
                <a:gd name="T10" fmla="*/ 27 w 85"/>
                <a:gd name="T11" fmla="*/ 47 h 122"/>
                <a:gd name="T12" fmla="*/ 74 w 85"/>
                <a:gd name="T13" fmla="*/ 47 h 122"/>
                <a:gd name="T14" fmla="*/ 74 w 85"/>
                <a:gd name="T15" fmla="*/ 69 h 122"/>
                <a:gd name="T16" fmla="*/ 27 w 85"/>
                <a:gd name="T17" fmla="*/ 69 h 122"/>
                <a:gd name="T18" fmla="*/ 27 w 85"/>
                <a:gd name="T19" fmla="*/ 99 h 122"/>
                <a:gd name="T20" fmla="*/ 85 w 85"/>
                <a:gd name="T21" fmla="*/ 99 h 122"/>
                <a:gd name="T22" fmla="*/ 85 w 85"/>
                <a:gd name="T23" fmla="*/ 122 h 122"/>
                <a:gd name="T24" fmla="*/ 0 w 85"/>
                <a:gd name="T25"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22">
                  <a:moveTo>
                    <a:pt x="0" y="122"/>
                  </a:moveTo>
                  <a:lnTo>
                    <a:pt x="0" y="0"/>
                  </a:lnTo>
                  <a:lnTo>
                    <a:pt x="82" y="0"/>
                  </a:lnTo>
                  <a:lnTo>
                    <a:pt x="82" y="23"/>
                  </a:lnTo>
                  <a:lnTo>
                    <a:pt x="27" y="23"/>
                  </a:lnTo>
                  <a:lnTo>
                    <a:pt x="27" y="47"/>
                  </a:lnTo>
                  <a:lnTo>
                    <a:pt x="74" y="47"/>
                  </a:lnTo>
                  <a:lnTo>
                    <a:pt x="74" y="69"/>
                  </a:lnTo>
                  <a:lnTo>
                    <a:pt x="27" y="69"/>
                  </a:lnTo>
                  <a:lnTo>
                    <a:pt x="27" y="99"/>
                  </a:lnTo>
                  <a:lnTo>
                    <a:pt x="85" y="99"/>
                  </a:lnTo>
                  <a:lnTo>
                    <a:pt x="85" y="122"/>
                  </a:lnTo>
                  <a:lnTo>
                    <a:pt x="0" y="12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25">
              <a:extLst>
                <a:ext uri="{FF2B5EF4-FFF2-40B4-BE49-F238E27FC236}">
                  <a16:creationId xmlns:a16="http://schemas.microsoft.com/office/drawing/2014/main" id="{6DDDDC83-36DC-DB32-F3DD-68BFD1E4B1F2}"/>
                </a:ext>
              </a:extLst>
            </p:cNvPr>
            <p:cNvSpPr>
              <a:spLocks/>
            </p:cNvSpPr>
            <p:nvPr userDrawn="1"/>
          </p:nvSpPr>
          <p:spPr bwMode="auto">
            <a:xfrm>
              <a:off x="9563101" y="6403976"/>
              <a:ext cx="184150" cy="196850"/>
            </a:xfrm>
            <a:custGeom>
              <a:avLst/>
              <a:gdLst>
                <a:gd name="T0" fmla="*/ 39 w 77"/>
                <a:gd name="T1" fmla="*/ 33 h 81"/>
                <a:gd name="T2" fmla="*/ 48 w 77"/>
                <a:gd name="T3" fmla="*/ 17 h 81"/>
                <a:gd name="T4" fmla="*/ 56 w 77"/>
                <a:gd name="T5" fmla="*/ 0 h 81"/>
                <a:gd name="T6" fmla="*/ 77 w 77"/>
                <a:gd name="T7" fmla="*/ 0 h 81"/>
                <a:gd name="T8" fmla="*/ 63 w 77"/>
                <a:gd name="T9" fmla="*/ 25 h 81"/>
                <a:gd name="T10" fmla="*/ 48 w 77"/>
                <a:gd name="T11" fmla="*/ 50 h 81"/>
                <a:gd name="T12" fmla="*/ 48 w 77"/>
                <a:gd name="T13" fmla="*/ 81 h 81"/>
                <a:gd name="T14" fmla="*/ 29 w 77"/>
                <a:gd name="T15" fmla="*/ 81 h 81"/>
                <a:gd name="T16" fmla="*/ 29 w 77"/>
                <a:gd name="T17" fmla="*/ 50 h 81"/>
                <a:gd name="T18" fmla="*/ 14 w 77"/>
                <a:gd name="T19" fmla="*/ 25 h 81"/>
                <a:gd name="T20" fmla="*/ 0 w 77"/>
                <a:gd name="T21" fmla="*/ 0 h 81"/>
                <a:gd name="T22" fmla="*/ 21 w 77"/>
                <a:gd name="T23" fmla="*/ 0 h 81"/>
                <a:gd name="T24" fmla="*/ 30 w 77"/>
                <a:gd name="T25" fmla="*/ 17 h 81"/>
                <a:gd name="T26" fmla="*/ 39 w 77"/>
                <a:gd name="T27" fmla="*/ 3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81">
                  <a:moveTo>
                    <a:pt x="39" y="33"/>
                  </a:moveTo>
                  <a:cubicBezTo>
                    <a:pt x="42" y="28"/>
                    <a:pt x="45" y="22"/>
                    <a:pt x="48" y="17"/>
                  </a:cubicBezTo>
                  <a:cubicBezTo>
                    <a:pt x="51" y="11"/>
                    <a:pt x="54" y="5"/>
                    <a:pt x="56" y="0"/>
                  </a:cubicBezTo>
                  <a:cubicBezTo>
                    <a:pt x="77" y="0"/>
                    <a:pt x="77" y="0"/>
                    <a:pt x="77" y="0"/>
                  </a:cubicBezTo>
                  <a:cubicBezTo>
                    <a:pt x="72" y="9"/>
                    <a:pt x="68" y="17"/>
                    <a:pt x="63" y="25"/>
                  </a:cubicBezTo>
                  <a:cubicBezTo>
                    <a:pt x="58" y="34"/>
                    <a:pt x="53" y="42"/>
                    <a:pt x="48" y="50"/>
                  </a:cubicBezTo>
                  <a:cubicBezTo>
                    <a:pt x="48" y="81"/>
                    <a:pt x="48" y="81"/>
                    <a:pt x="48" y="81"/>
                  </a:cubicBezTo>
                  <a:cubicBezTo>
                    <a:pt x="29" y="81"/>
                    <a:pt x="29" y="81"/>
                    <a:pt x="29" y="81"/>
                  </a:cubicBezTo>
                  <a:cubicBezTo>
                    <a:pt x="29" y="50"/>
                    <a:pt x="29" y="50"/>
                    <a:pt x="29" y="50"/>
                  </a:cubicBezTo>
                  <a:cubicBezTo>
                    <a:pt x="24" y="42"/>
                    <a:pt x="19" y="34"/>
                    <a:pt x="14" y="25"/>
                  </a:cubicBezTo>
                  <a:cubicBezTo>
                    <a:pt x="9" y="17"/>
                    <a:pt x="5" y="9"/>
                    <a:pt x="0" y="0"/>
                  </a:cubicBezTo>
                  <a:cubicBezTo>
                    <a:pt x="21" y="0"/>
                    <a:pt x="21" y="0"/>
                    <a:pt x="21" y="0"/>
                  </a:cubicBezTo>
                  <a:cubicBezTo>
                    <a:pt x="24" y="5"/>
                    <a:pt x="27" y="11"/>
                    <a:pt x="30" y="17"/>
                  </a:cubicBezTo>
                  <a:cubicBezTo>
                    <a:pt x="32" y="22"/>
                    <a:pt x="36" y="28"/>
                    <a:pt x="39" y="3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1" name="Freeform 26">
              <a:extLst>
                <a:ext uri="{FF2B5EF4-FFF2-40B4-BE49-F238E27FC236}">
                  <a16:creationId xmlns:a16="http://schemas.microsoft.com/office/drawing/2014/main" id="{5C38D36D-8189-541B-69C5-FEDB1764A417}"/>
                </a:ext>
              </a:extLst>
            </p:cNvPr>
            <p:cNvSpPr>
              <a:spLocks noEditPoints="1"/>
            </p:cNvSpPr>
            <p:nvPr userDrawn="1"/>
          </p:nvSpPr>
          <p:spPr bwMode="auto">
            <a:xfrm>
              <a:off x="9747251" y="6399213"/>
              <a:ext cx="195263" cy="206375"/>
            </a:xfrm>
            <a:custGeom>
              <a:avLst/>
              <a:gdLst>
                <a:gd name="T0" fmla="*/ 81 w 81"/>
                <a:gd name="T1" fmla="*/ 42 h 85"/>
                <a:gd name="T2" fmla="*/ 77 w 81"/>
                <a:gd name="T3" fmla="*/ 61 h 85"/>
                <a:gd name="T4" fmla="*/ 69 w 81"/>
                <a:gd name="T5" fmla="*/ 74 h 85"/>
                <a:gd name="T6" fmla="*/ 56 w 81"/>
                <a:gd name="T7" fmla="*/ 82 h 85"/>
                <a:gd name="T8" fmla="*/ 40 w 81"/>
                <a:gd name="T9" fmla="*/ 85 h 85"/>
                <a:gd name="T10" fmla="*/ 24 w 81"/>
                <a:gd name="T11" fmla="*/ 82 h 85"/>
                <a:gd name="T12" fmla="*/ 11 w 81"/>
                <a:gd name="T13" fmla="*/ 74 h 85"/>
                <a:gd name="T14" fmla="*/ 3 w 81"/>
                <a:gd name="T15" fmla="*/ 61 h 85"/>
                <a:gd name="T16" fmla="*/ 0 w 81"/>
                <a:gd name="T17" fmla="*/ 42 h 85"/>
                <a:gd name="T18" fmla="*/ 3 w 81"/>
                <a:gd name="T19" fmla="*/ 24 h 85"/>
                <a:gd name="T20" fmla="*/ 12 w 81"/>
                <a:gd name="T21" fmla="*/ 11 h 85"/>
                <a:gd name="T22" fmla="*/ 25 w 81"/>
                <a:gd name="T23" fmla="*/ 3 h 85"/>
                <a:gd name="T24" fmla="*/ 40 w 81"/>
                <a:gd name="T25" fmla="*/ 0 h 85"/>
                <a:gd name="T26" fmla="*/ 56 w 81"/>
                <a:gd name="T27" fmla="*/ 3 h 85"/>
                <a:gd name="T28" fmla="*/ 69 w 81"/>
                <a:gd name="T29" fmla="*/ 11 h 85"/>
                <a:gd name="T30" fmla="*/ 77 w 81"/>
                <a:gd name="T31" fmla="*/ 24 h 85"/>
                <a:gd name="T32" fmla="*/ 81 w 81"/>
                <a:gd name="T33" fmla="*/ 42 h 85"/>
                <a:gd name="T34" fmla="*/ 19 w 81"/>
                <a:gd name="T35" fmla="*/ 42 h 85"/>
                <a:gd name="T36" fmla="*/ 20 w 81"/>
                <a:gd name="T37" fmla="*/ 53 h 85"/>
                <a:gd name="T38" fmla="*/ 24 w 81"/>
                <a:gd name="T39" fmla="*/ 61 h 85"/>
                <a:gd name="T40" fmla="*/ 31 w 81"/>
                <a:gd name="T41" fmla="*/ 67 h 85"/>
                <a:gd name="T42" fmla="*/ 40 w 81"/>
                <a:gd name="T43" fmla="*/ 69 h 85"/>
                <a:gd name="T44" fmla="*/ 49 w 81"/>
                <a:gd name="T45" fmla="*/ 67 h 85"/>
                <a:gd name="T46" fmla="*/ 56 w 81"/>
                <a:gd name="T47" fmla="*/ 61 h 85"/>
                <a:gd name="T48" fmla="*/ 60 w 81"/>
                <a:gd name="T49" fmla="*/ 53 h 85"/>
                <a:gd name="T50" fmla="*/ 62 w 81"/>
                <a:gd name="T51" fmla="*/ 42 h 85"/>
                <a:gd name="T52" fmla="*/ 60 w 81"/>
                <a:gd name="T53" fmla="*/ 32 h 85"/>
                <a:gd name="T54" fmla="*/ 56 w 81"/>
                <a:gd name="T55" fmla="*/ 23 h 85"/>
                <a:gd name="T56" fmla="*/ 49 w 81"/>
                <a:gd name="T57" fmla="*/ 18 h 85"/>
                <a:gd name="T58" fmla="*/ 40 w 81"/>
                <a:gd name="T59" fmla="*/ 16 h 85"/>
                <a:gd name="T60" fmla="*/ 31 w 81"/>
                <a:gd name="T61" fmla="*/ 18 h 85"/>
                <a:gd name="T62" fmla="*/ 24 w 81"/>
                <a:gd name="T63" fmla="*/ 23 h 85"/>
                <a:gd name="T64" fmla="*/ 20 w 81"/>
                <a:gd name="T65" fmla="*/ 32 h 85"/>
                <a:gd name="T66" fmla="*/ 19 w 81"/>
                <a:gd name="T67" fmla="*/ 4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1" h="85">
                  <a:moveTo>
                    <a:pt x="81" y="42"/>
                  </a:moveTo>
                  <a:cubicBezTo>
                    <a:pt x="81" y="49"/>
                    <a:pt x="80" y="56"/>
                    <a:pt x="77" y="61"/>
                  </a:cubicBezTo>
                  <a:cubicBezTo>
                    <a:pt x="75" y="66"/>
                    <a:pt x="73" y="70"/>
                    <a:pt x="69" y="74"/>
                  </a:cubicBezTo>
                  <a:cubicBezTo>
                    <a:pt x="65" y="78"/>
                    <a:pt x="61" y="80"/>
                    <a:pt x="56" y="82"/>
                  </a:cubicBezTo>
                  <a:cubicBezTo>
                    <a:pt x="51" y="84"/>
                    <a:pt x="46" y="85"/>
                    <a:pt x="40" y="85"/>
                  </a:cubicBezTo>
                  <a:cubicBezTo>
                    <a:pt x="35" y="85"/>
                    <a:pt x="29" y="84"/>
                    <a:pt x="24" y="82"/>
                  </a:cubicBezTo>
                  <a:cubicBezTo>
                    <a:pt x="19" y="80"/>
                    <a:pt x="15" y="78"/>
                    <a:pt x="11" y="74"/>
                  </a:cubicBezTo>
                  <a:cubicBezTo>
                    <a:pt x="8" y="70"/>
                    <a:pt x="5" y="66"/>
                    <a:pt x="3" y="61"/>
                  </a:cubicBezTo>
                  <a:cubicBezTo>
                    <a:pt x="1" y="56"/>
                    <a:pt x="0" y="49"/>
                    <a:pt x="0" y="42"/>
                  </a:cubicBezTo>
                  <a:cubicBezTo>
                    <a:pt x="0" y="35"/>
                    <a:pt x="1" y="29"/>
                    <a:pt x="3" y="24"/>
                  </a:cubicBezTo>
                  <a:cubicBezTo>
                    <a:pt x="5" y="19"/>
                    <a:pt x="8" y="14"/>
                    <a:pt x="12" y="11"/>
                  </a:cubicBezTo>
                  <a:cubicBezTo>
                    <a:pt x="15" y="7"/>
                    <a:pt x="20" y="4"/>
                    <a:pt x="25" y="3"/>
                  </a:cubicBezTo>
                  <a:cubicBezTo>
                    <a:pt x="30" y="1"/>
                    <a:pt x="35" y="0"/>
                    <a:pt x="40" y="0"/>
                  </a:cubicBezTo>
                  <a:cubicBezTo>
                    <a:pt x="46" y="0"/>
                    <a:pt x="51" y="1"/>
                    <a:pt x="56" y="3"/>
                  </a:cubicBezTo>
                  <a:cubicBezTo>
                    <a:pt x="61" y="4"/>
                    <a:pt x="65" y="7"/>
                    <a:pt x="69" y="11"/>
                  </a:cubicBezTo>
                  <a:cubicBezTo>
                    <a:pt x="72" y="14"/>
                    <a:pt x="75" y="19"/>
                    <a:pt x="77" y="24"/>
                  </a:cubicBezTo>
                  <a:cubicBezTo>
                    <a:pt x="80" y="29"/>
                    <a:pt x="81" y="35"/>
                    <a:pt x="81" y="42"/>
                  </a:cubicBezTo>
                  <a:close/>
                  <a:moveTo>
                    <a:pt x="19" y="42"/>
                  </a:moveTo>
                  <a:cubicBezTo>
                    <a:pt x="19" y="46"/>
                    <a:pt x="19" y="50"/>
                    <a:pt x="20" y="53"/>
                  </a:cubicBezTo>
                  <a:cubicBezTo>
                    <a:pt x="21" y="56"/>
                    <a:pt x="22" y="59"/>
                    <a:pt x="24" y="61"/>
                  </a:cubicBezTo>
                  <a:cubicBezTo>
                    <a:pt x="26" y="64"/>
                    <a:pt x="28" y="66"/>
                    <a:pt x="31" y="67"/>
                  </a:cubicBezTo>
                  <a:cubicBezTo>
                    <a:pt x="34" y="68"/>
                    <a:pt x="37" y="69"/>
                    <a:pt x="40" y="69"/>
                  </a:cubicBezTo>
                  <a:cubicBezTo>
                    <a:pt x="43" y="69"/>
                    <a:pt x="47" y="68"/>
                    <a:pt x="49" y="67"/>
                  </a:cubicBezTo>
                  <a:cubicBezTo>
                    <a:pt x="52" y="66"/>
                    <a:pt x="54" y="64"/>
                    <a:pt x="56" y="61"/>
                  </a:cubicBezTo>
                  <a:cubicBezTo>
                    <a:pt x="58" y="59"/>
                    <a:pt x="59" y="56"/>
                    <a:pt x="60" y="53"/>
                  </a:cubicBezTo>
                  <a:cubicBezTo>
                    <a:pt x="61" y="50"/>
                    <a:pt x="62" y="46"/>
                    <a:pt x="62" y="42"/>
                  </a:cubicBezTo>
                  <a:cubicBezTo>
                    <a:pt x="62" y="38"/>
                    <a:pt x="61" y="35"/>
                    <a:pt x="60" y="32"/>
                  </a:cubicBezTo>
                  <a:cubicBezTo>
                    <a:pt x="59" y="28"/>
                    <a:pt x="58" y="26"/>
                    <a:pt x="56" y="23"/>
                  </a:cubicBezTo>
                  <a:cubicBezTo>
                    <a:pt x="54" y="21"/>
                    <a:pt x="52" y="19"/>
                    <a:pt x="49" y="18"/>
                  </a:cubicBezTo>
                  <a:cubicBezTo>
                    <a:pt x="47" y="17"/>
                    <a:pt x="43" y="16"/>
                    <a:pt x="40" y="16"/>
                  </a:cubicBezTo>
                  <a:cubicBezTo>
                    <a:pt x="37" y="16"/>
                    <a:pt x="34" y="17"/>
                    <a:pt x="31" y="18"/>
                  </a:cubicBezTo>
                  <a:cubicBezTo>
                    <a:pt x="28" y="19"/>
                    <a:pt x="26" y="21"/>
                    <a:pt x="24" y="23"/>
                  </a:cubicBezTo>
                  <a:cubicBezTo>
                    <a:pt x="22" y="26"/>
                    <a:pt x="21" y="28"/>
                    <a:pt x="20" y="32"/>
                  </a:cubicBezTo>
                  <a:cubicBezTo>
                    <a:pt x="19" y="35"/>
                    <a:pt x="19" y="39"/>
                    <a:pt x="19" y="4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27">
              <a:extLst>
                <a:ext uri="{FF2B5EF4-FFF2-40B4-BE49-F238E27FC236}">
                  <a16:creationId xmlns:a16="http://schemas.microsoft.com/office/drawing/2014/main" id="{70E85609-D444-307A-F4BE-5B927521398F}"/>
                </a:ext>
              </a:extLst>
            </p:cNvPr>
            <p:cNvSpPr>
              <a:spLocks/>
            </p:cNvSpPr>
            <p:nvPr userDrawn="1"/>
          </p:nvSpPr>
          <p:spPr bwMode="auto">
            <a:xfrm>
              <a:off x="9977438" y="6403976"/>
              <a:ext cx="158750" cy="201613"/>
            </a:xfrm>
            <a:custGeom>
              <a:avLst/>
              <a:gdLst>
                <a:gd name="T0" fmla="*/ 33 w 66"/>
                <a:gd name="T1" fmla="*/ 83 h 83"/>
                <a:gd name="T2" fmla="*/ 18 w 66"/>
                <a:gd name="T3" fmla="*/ 80 h 83"/>
                <a:gd name="T4" fmla="*/ 8 w 66"/>
                <a:gd name="T5" fmla="*/ 74 h 83"/>
                <a:gd name="T6" fmla="*/ 2 w 66"/>
                <a:gd name="T7" fmla="*/ 63 h 83"/>
                <a:gd name="T8" fmla="*/ 0 w 66"/>
                <a:gd name="T9" fmla="*/ 50 h 83"/>
                <a:gd name="T10" fmla="*/ 0 w 66"/>
                <a:gd name="T11" fmla="*/ 0 h 83"/>
                <a:gd name="T12" fmla="*/ 18 w 66"/>
                <a:gd name="T13" fmla="*/ 0 h 83"/>
                <a:gd name="T14" fmla="*/ 18 w 66"/>
                <a:gd name="T15" fmla="*/ 49 h 83"/>
                <a:gd name="T16" fmla="*/ 19 w 66"/>
                <a:gd name="T17" fmla="*/ 57 h 83"/>
                <a:gd name="T18" fmla="*/ 22 w 66"/>
                <a:gd name="T19" fmla="*/ 63 h 83"/>
                <a:gd name="T20" fmla="*/ 27 w 66"/>
                <a:gd name="T21" fmla="*/ 66 h 83"/>
                <a:gd name="T22" fmla="*/ 33 w 66"/>
                <a:gd name="T23" fmla="*/ 67 h 83"/>
                <a:gd name="T24" fmla="*/ 44 w 66"/>
                <a:gd name="T25" fmla="*/ 63 h 83"/>
                <a:gd name="T26" fmla="*/ 48 w 66"/>
                <a:gd name="T27" fmla="*/ 49 h 83"/>
                <a:gd name="T28" fmla="*/ 48 w 66"/>
                <a:gd name="T29" fmla="*/ 0 h 83"/>
                <a:gd name="T30" fmla="*/ 66 w 66"/>
                <a:gd name="T31" fmla="*/ 0 h 83"/>
                <a:gd name="T32" fmla="*/ 66 w 66"/>
                <a:gd name="T33" fmla="*/ 50 h 83"/>
                <a:gd name="T34" fmla="*/ 64 w 66"/>
                <a:gd name="T35" fmla="*/ 64 h 83"/>
                <a:gd name="T36" fmla="*/ 58 w 66"/>
                <a:gd name="T37" fmla="*/ 74 h 83"/>
                <a:gd name="T38" fmla="*/ 48 w 66"/>
                <a:gd name="T39" fmla="*/ 80 h 83"/>
                <a:gd name="T40" fmla="*/ 33 w 66"/>
                <a:gd name="T4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83">
                  <a:moveTo>
                    <a:pt x="33" y="83"/>
                  </a:moveTo>
                  <a:cubicBezTo>
                    <a:pt x="27" y="83"/>
                    <a:pt x="22" y="82"/>
                    <a:pt x="18" y="80"/>
                  </a:cubicBezTo>
                  <a:cubicBezTo>
                    <a:pt x="14" y="79"/>
                    <a:pt x="10" y="77"/>
                    <a:pt x="8" y="74"/>
                  </a:cubicBezTo>
                  <a:cubicBezTo>
                    <a:pt x="5" y="71"/>
                    <a:pt x="3" y="67"/>
                    <a:pt x="2" y="63"/>
                  </a:cubicBezTo>
                  <a:cubicBezTo>
                    <a:pt x="1" y="60"/>
                    <a:pt x="0" y="55"/>
                    <a:pt x="0" y="50"/>
                  </a:cubicBezTo>
                  <a:cubicBezTo>
                    <a:pt x="0" y="0"/>
                    <a:pt x="0" y="0"/>
                    <a:pt x="0" y="0"/>
                  </a:cubicBezTo>
                  <a:cubicBezTo>
                    <a:pt x="18" y="0"/>
                    <a:pt x="18" y="0"/>
                    <a:pt x="18" y="0"/>
                  </a:cubicBezTo>
                  <a:cubicBezTo>
                    <a:pt x="18" y="49"/>
                    <a:pt x="18" y="49"/>
                    <a:pt x="18" y="49"/>
                  </a:cubicBezTo>
                  <a:cubicBezTo>
                    <a:pt x="18" y="52"/>
                    <a:pt x="19" y="55"/>
                    <a:pt x="19" y="57"/>
                  </a:cubicBezTo>
                  <a:cubicBezTo>
                    <a:pt x="20" y="60"/>
                    <a:pt x="21" y="61"/>
                    <a:pt x="22" y="63"/>
                  </a:cubicBezTo>
                  <a:cubicBezTo>
                    <a:pt x="24" y="64"/>
                    <a:pt x="25" y="65"/>
                    <a:pt x="27" y="66"/>
                  </a:cubicBezTo>
                  <a:cubicBezTo>
                    <a:pt x="29" y="67"/>
                    <a:pt x="31" y="67"/>
                    <a:pt x="33" y="67"/>
                  </a:cubicBezTo>
                  <a:cubicBezTo>
                    <a:pt x="38" y="67"/>
                    <a:pt x="41" y="66"/>
                    <a:pt x="44" y="63"/>
                  </a:cubicBezTo>
                  <a:cubicBezTo>
                    <a:pt x="47" y="60"/>
                    <a:pt x="48" y="55"/>
                    <a:pt x="48" y="49"/>
                  </a:cubicBezTo>
                  <a:cubicBezTo>
                    <a:pt x="48" y="0"/>
                    <a:pt x="48" y="0"/>
                    <a:pt x="48" y="0"/>
                  </a:cubicBezTo>
                  <a:cubicBezTo>
                    <a:pt x="66" y="0"/>
                    <a:pt x="66" y="0"/>
                    <a:pt x="66" y="0"/>
                  </a:cubicBezTo>
                  <a:cubicBezTo>
                    <a:pt x="66" y="50"/>
                    <a:pt x="66" y="50"/>
                    <a:pt x="66" y="50"/>
                  </a:cubicBezTo>
                  <a:cubicBezTo>
                    <a:pt x="66" y="55"/>
                    <a:pt x="66" y="60"/>
                    <a:pt x="64" y="64"/>
                  </a:cubicBezTo>
                  <a:cubicBezTo>
                    <a:pt x="63" y="68"/>
                    <a:pt x="61" y="71"/>
                    <a:pt x="58" y="74"/>
                  </a:cubicBezTo>
                  <a:cubicBezTo>
                    <a:pt x="56" y="77"/>
                    <a:pt x="52" y="79"/>
                    <a:pt x="48" y="80"/>
                  </a:cubicBezTo>
                  <a:cubicBezTo>
                    <a:pt x="44" y="82"/>
                    <a:pt x="39" y="83"/>
                    <a:pt x="33" y="8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28">
              <a:extLst>
                <a:ext uri="{FF2B5EF4-FFF2-40B4-BE49-F238E27FC236}">
                  <a16:creationId xmlns:a16="http://schemas.microsoft.com/office/drawing/2014/main" id="{A2677260-E895-B38C-A5C4-4CA68746ECC7}"/>
                </a:ext>
              </a:extLst>
            </p:cNvPr>
            <p:cNvSpPr>
              <a:spLocks/>
            </p:cNvSpPr>
            <p:nvPr userDrawn="1"/>
          </p:nvSpPr>
          <p:spPr bwMode="auto">
            <a:xfrm>
              <a:off x="10225088" y="6403976"/>
              <a:ext cx="257175" cy="196850"/>
            </a:xfrm>
            <a:custGeom>
              <a:avLst/>
              <a:gdLst>
                <a:gd name="T0" fmla="*/ 62 w 107"/>
                <a:gd name="T1" fmla="*/ 9 h 81"/>
                <a:gd name="T2" fmla="*/ 65 w 107"/>
                <a:gd name="T3" fmla="*/ 19 h 81"/>
                <a:gd name="T4" fmla="*/ 69 w 107"/>
                <a:gd name="T5" fmla="*/ 32 h 81"/>
                <a:gd name="T6" fmla="*/ 72 w 107"/>
                <a:gd name="T7" fmla="*/ 45 h 81"/>
                <a:gd name="T8" fmla="*/ 76 w 107"/>
                <a:gd name="T9" fmla="*/ 57 h 81"/>
                <a:gd name="T10" fmla="*/ 79 w 107"/>
                <a:gd name="T11" fmla="*/ 44 h 81"/>
                <a:gd name="T12" fmla="*/ 82 w 107"/>
                <a:gd name="T13" fmla="*/ 29 h 81"/>
                <a:gd name="T14" fmla="*/ 85 w 107"/>
                <a:gd name="T15" fmla="*/ 14 h 81"/>
                <a:gd name="T16" fmla="*/ 88 w 107"/>
                <a:gd name="T17" fmla="*/ 0 h 81"/>
                <a:gd name="T18" fmla="*/ 107 w 107"/>
                <a:gd name="T19" fmla="*/ 0 h 81"/>
                <a:gd name="T20" fmla="*/ 97 w 107"/>
                <a:gd name="T21" fmla="*/ 41 h 81"/>
                <a:gd name="T22" fmla="*/ 86 w 107"/>
                <a:gd name="T23" fmla="*/ 81 h 81"/>
                <a:gd name="T24" fmla="*/ 69 w 107"/>
                <a:gd name="T25" fmla="*/ 81 h 81"/>
                <a:gd name="T26" fmla="*/ 61 w 107"/>
                <a:gd name="T27" fmla="*/ 58 h 81"/>
                <a:gd name="T28" fmla="*/ 53 w 107"/>
                <a:gd name="T29" fmla="*/ 33 h 81"/>
                <a:gd name="T30" fmla="*/ 46 w 107"/>
                <a:gd name="T31" fmla="*/ 58 h 81"/>
                <a:gd name="T32" fmla="*/ 38 w 107"/>
                <a:gd name="T33" fmla="*/ 81 h 81"/>
                <a:gd name="T34" fmla="*/ 21 w 107"/>
                <a:gd name="T35" fmla="*/ 81 h 81"/>
                <a:gd name="T36" fmla="*/ 10 w 107"/>
                <a:gd name="T37" fmla="*/ 41 h 81"/>
                <a:gd name="T38" fmla="*/ 0 w 107"/>
                <a:gd name="T39" fmla="*/ 0 h 81"/>
                <a:gd name="T40" fmla="*/ 20 w 107"/>
                <a:gd name="T41" fmla="*/ 0 h 81"/>
                <a:gd name="T42" fmla="*/ 23 w 107"/>
                <a:gd name="T43" fmla="*/ 14 h 81"/>
                <a:gd name="T44" fmla="*/ 25 w 107"/>
                <a:gd name="T45" fmla="*/ 29 h 81"/>
                <a:gd name="T46" fmla="*/ 29 w 107"/>
                <a:gd name="T47" fmla="*/ 44 h 81"/>
                <a:gd name="T48" fmla="*/ 32 w 107"/>
                <a:gd name="T49" fmla="*/ 57 h 81"/>
                <a:gd name="T50" fmla="*/ 36 w 107"/>
                <a:gd name="T51" fmla="*/ 45 h 81"/>
                <a:gd name="T52" fmla="*/ 40 w 107"/>
                <a:gd name="T53" fmla="*/ 32 h 81"/>
                <a:gd name="T54" fmla="*/ 43 w 107"/>
                <a:gd name="T55" fmla="*/ 19 h 81"/>
                <a:gd name="T56" fmla="*/ 46 w 107"/>
                <a:gd name="T57" fmla="*/ 9 h 81"/>
                <a:gd name="T58" fmla="*/ 62 w 107"/>
                <a:gd name="T59" fmla="*/ 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7" h="81">
                  <a:moveTo>
                    <a:pt x="62" y="9"/>
                  </a:moveTo>
                  <a:cubicBezTo>
                    <a:pt x="63" y="12"/>
                    <a:pt x="64" y="15"/>
                    <a:pt x="65" y="19"/>
                  </a:cubicBezTo>
                  <a:cubicBezTo>
                    <a:pt x="66" y="23"/>
                    <a:pt x="67" y="28"/>
                    <a:pt x="69" y="32"/>
                  </a:cubicBezTo>
                  <a:cubicBezTo>
                    <a:pt x="70" y="36"/>
                    <a:pt x="71" y="40"/>
                    <a:pt x="72" y="45"/>
                  </a:cubicBezTo>
                  <a:cubicBezTo>
                    <a:pt x="74" y="49"/>
                    <a:pt x="75" y="53"/>
                    <a:pt x="76" y="57"/>
                  </a:cubicBezTo>
                  <a:cubicBezTo>
                    <a:pt x="77" y="53"/>
                    <a:pt x="78" y="48"/>
                    <a:pt x="79" y="44"/>
                  </a:cubicBezTo>
                  <a:cubicBezTo>
                    <a:pt x="80" y="39"/>
                    <a:pt x="81" y="34"/>
                    <a:pt x="82" y="29"/>
                  </a:cubicBezTo>
                  <a:cubicBezTo>
                    <a:pt x="83" y="24"/>
                    <a:pt x="84" y="19"/>
                    <a:pt x="85" y="14"/>
                  </a:cubicBezTo>
                  <a:cubicBezTo>
                    <a:pt x="86" y="9"/>
                    <a:pt x="87" y="4"/>
                    <a:pt x="88" y="0"/>
                  </a:cubicBezTo>
                  <a:cubicBezTo>
                    <a:pt x="107" y="0"/>
                    <a:pt x="107" y="0"/>
                    <a:pt x="107" y="0"/>
                  </a:cubicBezTo>
                  <a:cubicBezTo>
                    <a:pt x="104" y="13"/>
                    <a:pt x="101" y="27"/>
                    <a:pt x="97" y="41"/>
                  </a:cubicBezTo>
                  <a:cubicBezTo>
                    <a:pt x="94" y="55"/>
                    <a:pt x="90" y="69"/>
                    <a:pt x="86" y="81"/>
                  </a:cubicBezTo>
                  <a:cubicBezTo>
                    <a:pt x="69" y="81"/>
                    <a:pt x="69" y="81"/>
                    <a:pt x="69" y="81"/>
                  </a:cubicBezTo>
                  <a:cubicBezTo>
                    <a:pt x="66" y="74"/>
                    <a:pt x="63" y="66"/>
                    <a:pt x="61" y="58"/>
                  </a:cubicBezTo>
                  <a:cubicBezTo>
                    <a:pt x="58" y="49"/>
                    <a:pt x="56" y="41"/>
                    <a:pt x="53" y="33"/>
                  </a:cubicBezTo>
                  <a:cubicBezTo>
                    <a:pt x="51" y="41"/>
                    <a:pt x="48" y="49"/>
                    <a:pt x="46" y="58"/>
                  </a:cubicBezTo>
                  <a:cubicBezTo>
                    <a:pt x="43" y="66"/>
                    <a:pt x="41" y="74"/>
                    <a:pt x="38" y="81"/>
                  </a:cubicBezTo>
                  <a:cubicBezTo>
                    <a:pt x="21" y="81"/>
                    <a:pt x="21" y="81"/>
                    <a:pt x="21" y="81"/>
                  </a:cubicBezTo>
                  <a:cubicBezTo>
                    <a:pt x="17" y="69"/>
                    <a:pt x="13" y="55"/>
                    <a:pt x="10" y="41"/>
                  </a:cubicBezTo>
                  <a:cubicBezTo>
                    <a:pt x="6" y="27"/>
                    <a:pt x="3" y="13"/>
                    <a:pt x="0" y="0"/>
                  </a:cubicBezTo>
                  <a:cubicBezTo>
                    <a:pt x="20" y="0"/>
                    <a:pt x="20" y="0"/>
                    <a:pt x="20" y="0"/>
                  </a:cubicBezTo>
                  <a:cubicBezTo>
                    <a:pt x="21" y="4"/>
                    <a:pt x="22" y="9"/>
                    <a:pt x="23" y="14"/>
                  </a:cubicBezTo>
                  <a:cubicBezTo>
                    <a:pt x="23" y="19"/>
                    <a:pt x="24" y="24"/>
                    <a:pt x="25" y="29"/>
                  </a:cubicBezTo>
                  <a:cubicBezTo>
                    <a:pt x="26" y="34"/>
                    <a:pt x="28" y="39"/>
                    <a:pt x="29" y="44"/>
                  </a:cubicBezTo>
                  <a:cubicBezTo>
                    <a:pt x="30" y="48"/>
                    <a:pt x="31" y="53"/>
                    <a:pt x="32" y="57"/>
                  </a:cubicBezTo>
                  <a:cubicBezTo>
                    <a:pt x="33" y="53"/>
                    <a:pt x="35" y="49"/>
                    <a:pt x="36" y="45"/>
                  </a:cubicBezTo>
                  <a:cubicBezTo>
                    <a:pt x="37" y="40"/>
                    <a:pt x="39" y="36"/>
                    <a:pt x="40" y="32"/>
                  </a:cubicBezTo>
                  <a:cubicBezTo>
                    <a:pt x="41" y="27"/>
                    <a:pt x="42" y="23"/>
                    <a:pt x="43" y="19"/>
                  </a:cubicBezTo>
                  <a:cubicBezTo>
                    <a:pt x="44" y="15"/>
                    <a:pt x="45" y="12"/>
                    <a:pt x="46" y="9"/>
                  </a:cubicBezTo>
                  <a:lnTo>
                    <a:pt x="62" y="9"/>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29">
              <a:extLst>
                <a:ext uri="{FF2B5EF4-FFF2-40B4-BE49-F238E27FC236}">
                  <a16:creationId xmlns:a16="http://schemas.microsoft.com/office/drawing/2014/main" id="{63E6C7EA-082A-098F-3013-F7D056BFA8DA}"/>
                </a:ext>
              </a:extLst>
            </p:cNvPr>
            <p:cNvSpPr>
              <a:spLocks noEditPoints="1"/>
            </p:cNvSpPr>
            <p:nvPr userDrawn="1"/>
          </p:nvSpPr>
          <p:spPr bwMode="auto">
            <a:xfrm>
              <a:off x="10472738" y="6403976"/>
              <a:ext cx="200025" cy="196850"/>
            </a:xfrm>
            <a:custGeom>
              <a:avLst/>
              <a:gdLst>
                <a:gd name="T0" fmla="*/ 63 w 83"/>
                <a:gd name="T1" fmla="*/ 81 h 81"/>
                <a:gd name="T2" fmla="*/ 60 w 83"/>
                <a:gd name="T3" fmla="*/ 72 h 81"/>
                <a:gd name="T4" fmla="*/ 57 w 83"/>
                <a:gd name="T5" fmla="*/ 64 h 81"/>
                <a:gd name="T6" fmla="*/ 25 w 83"/>
                <a:gd name="T7" fmla="*/ 64 h 81"/>
                <a:gd name="T8" fmla="*/ 22 w 83"/>
                <a:gd name="T9" fmla="*/ 72 h 81"/>
                <a:gd name="T10" fmla="*/ 19 w 83"/>
                <a:gd name="T11" fmla="*/ 81 h 81"/>
                <a:gd name="T12" fmla="*/ 0 w 83"/>
                <a:gd name="T13" fmla="*/ 81 h 81"/>
                <a:gd name="T14" fmla="*/ 9 w 83"/>
                <a:gd name="T15" fmla="*/ 57 h 81"/>
                <a:gd name="T16" fmla="*/ 17 w 83"/>
                <a:gd name="T17" fmla="*/ 36 h 81"/>
                <a:gd name="T18" fmla="*/ 25 w 83"/>
                <a:gd name="T19" fmla="*/ 17 h 81"/>
                <a:gd name="T20" fmla="*/ 33 w 83"/>
                <a:gd name="T21" fmla="*/ 0 h 81"/>
                <a:gd name="T22" fmla="*/ 50 w 83"/>
                <a:gd name="T23" fmla="*/ 0 h 81"/>
                <a:gd name="T24" fmla="*/ 58 w 83"/>
                <a:gd name="T25" fmla="*/ 17 h 81"/>
                <a:gd name="T26" fmla="*/ 66 w 83"/>
                <a:gd name="T27" fmla="*/ 36 h 81"/>
                <a:gd name="T28" fmla="*/ 74 w 83"/>
                <a:gd name="T29" fmla="*/ 57 h 81"/>
                <a:gd name="T30" fmla="*/ 83 w 83"/>
                <a:gd name="T31" fmla="*/ 81 h 81"/>
                <a:gd name="T32" fmla="*/ 63 w 83"/>
                <a:gd name="T33" fmla="*/ 81 h 81"/>
                <a:gd name="T34" fmla="*/ 41 w 83"/>
                <a:gd name="T35" fmla="*/ 18 h 81"/>
                <a:gd name="T36" fmla="*/ 39 w 83"/>
                <a:gd name="T37" fmla="*/ 23 h 81"/>
                <a:gd name="T38" fmla="*/ 37 w 83"/>
                <a:gd name="T39" fmla="*/ 30 h 81"/>
                <a:gd name="T40" fmla="*/ 33 w 83"/>
                <a:gd name="T41" fmla="*/ 39 h 81"/>
                <a:gd name="T42" fmla="*/ 30 w 83"/>
                <a:gd name="T43" fmla="*/ 49 h 81"/>
                <a:gd name="T44" fmla="*/ 53 w 83"/>
                <a:gd name="T45" fmla="*/ 49 h 81"/>
                <a:gd name="T46" fmla="*/ 49 w 83"/>
                <a:gd name="T47" fmla="*/ 39 h 81"/>
                <a:gd name="T48" fmla="*/ 46 w 83"/>
                <a:gd name="T49" fmla="*/ 30 h 81"/>
                <a:gd name="T50" fmla="*/ 43 w 83"/>
                <a:gd name="T51" fmla="*/ 23 h 81"/>
                <a:gd name="T52" fmla="*/ 41 w 83"/>
                <a:gd name="T53"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3" h="81">
                  <a:moveTo>
                    <a:pt x="63" y="81"/>
                  </a:moveTo>
                  <a:cubicBezTo>
                    <a:pt x="62" y="78"/>
                    <a:pt x="61" y="75"/>
                    <a:pt x="60" y="72"/>
                  </a:cubicBezTo>
                  <a:cubicBezTo>
                    <a:pt x="59" y="69"/>
                    <a:pt x="58" y="66"/>
                    <a:pt x="57" y="64"/>
                  </a:cubicBezTo>
                  <a:cubicBezTo>
                    <a:pt x="25" y="64"/>
                    <a:pt x="25" y="64"/>
                    <a:pt x="25" y="64"/>
                  </a:cubicBezTo>
                  <a:cubicBezTo>
                    <a:pt x="24" y="67"/>
                    <a:pt x="23" y="69"/>
                    <a:pt x="22" y="72"/>
                  </a:cubicBezTo>
                  <a:cubicBezTo>
                    <a:pt x="21" y="75"/>
                    <a:pt x="20" y="78"/>
                    <a:pt x="19" y="81"/>
                  </a:cubicBezTo>
                  <a:cubicBezTo>
                    <a:pt x="0" y="81"/>
                    <a:pt x="0" y="81"/>
                    <a:pt x="0" y="81"/>
                  </a:cubicBezTo>
                  <a:cubicBezTo>
                    <a:pt x="3" y="72"/>
                    <a:pt x="6" y="64"/>
                    <a:pt x="9" y="57"/>
                  </a:cubicBezTo>
                  <a:cubicBezTo>
                    <a:pt x="12" y="49"/>
                    <a:pt x="15" y="42"/>
                    <a:pt x="17" y="36"/>
                  </a:cubicBezTo>
                  <a:cubicBezTo>
                    <a:pt x="20" y="29"/>
                    <a:pt x="22" y="23"/>
                    <a:pt x="25" y="17"/>
                  </a:cubicBezTo>
                  <a:cubicBezTo>
                    <a:pt x="28" y="11"/>
                    <a:pt x="30" y="5"/>
                    <a:pt x="33" y="0"/>
                  </a:cubicBezTo>
                  <a:cubicBezTo>
                    <a:pt x="50" y="0"/>
                    <a:pt x="50" y="0"/>
                    <a:pt x="50" y="0"/>
                  </a:cubicBezTo>
                  <a:cubicBezTo>
                    <a:pt x="53" y="5"/>
                    <a:pt x="56" y="11"/>
                    <a:pt x="58" y="17"/>
                  </a:cubicBezTo>
                  <a:cubicBezTo>
                    <a:pt x="61" y="23"/>
                    <a:pt x="63" y="29"/>
                    <a:pt x="66" y="36"/>
                  </a:cubicBezTo>
                  <a:cubicBezTo>
                    <a:pt x="69" y="42"/>
                    <a:pt x="71" y="49"/>
                    <a:pt x="74" y="57"/>
                  </a:cubicBezTo>
                  <a:cubicBezTo>
                    <a:pt x="77" y="64"/>
                    <a:pt x="80" y="72"/>
                    <a:pt x="83" y="81"/>
                  </a:cubicBezTo>
                  <a:lnTo>
                    <a:pt x="63" y="81"/>
                  </a:lnTo>
                  <a:close/>
                  <a:moveTo>
                    <a:pt x="41" y="18"/>
                  </a:moveTo>
                  <a:cubicBezTo>
                    <a:pt x="41" y="19"/>
                    <a:pt x="40" y="21"/>
                    <a:pt x="39" y="23"/>
                  </a:cubicBezTo>
                  <a:cubicBezTo>
                    <a:pt x="39" y="25"/>
                    <a:pt x="38" y="27"/>
                    <a:pt x="37" y="30"/>
                  </a:cubicBezTo>
                  <a:cubicBezTo>
                    <a:pt x="36" y="33"/>
                    <a:pt x="35" y="36"/>
                    <a:pt x="33" y="39"/>
                  </a:cubicBezTo>
                  <a:cubicBezTo>
                    <a:pt x="32" y="42"/>
                    <a:pt x="31" y="45"/>
                    <a:pt x="30" y="49"/>
                  </a:cubicBezTo>
                  <a:cubicBezTo>
                    <a:pt x="53" y="49"/>
                    <a:pt x="53" y="49"/>
                    <a:pt x="53" y="49"/>
                  </a:cubicBezTo>
                  <a:cubicBezTo>
                    <a:pt x="52" y="45"/>
                    <a:pt x="50" y="42"/>
                    <a:pt x="49" y="39"/>
                  </a:cubicBezTo>
                  <a:cubicBezTo>
                    <a:pt x="48" y="36"/>
                    <a:pt x="47" y="33"/>
                    <a:pt x="46" y="30"/>
                  </a:cubicBezTo>
                  <a:cubicBezTo>
                    <a:pt x="45" y="27"/>
                    <a:pt x="44" y="25"/>
                    <a:pt x="43" y="23"/>
                  </a:cubicBezTo>
                  <a:cubicBezTo>
                    <a:pt x="42" y="21"/>
                    <a:pt x="42" y="19"/>
                    <a:pt x="41" y="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5" name="Freeform 30">
              <a:extLst>
                <a:ext uri="{FF2B5EF4-FFF2-40B4-BE49-F238E27FC236}">
                  <a16:creationId xmlns:a16="http://schemas.microsoft.com/office/drawing/2014/main" id="{40415748-B286-ED5C-17F5-200C35358840}"/>
                </a:ext>
              </a:extLst>
            </p:cNvPr>
            <p:cNvSpPr>
              <a:spLocks/>
            </p:cNvSpPr>
            <p:nvPr userDrawn="1"/>
          </p:nvSpPr>
          <p:spPr bwMode="auto">
            <a:xfrm>
              <a:off x="10699751" y="6403976"/>
              <a:ext cx="168275" cy="196850"/>
            </a:xfrm>
            <a:custGeom>
              <a:avLst/>
              <a:gdLst>
                <a:gd name="T0" fmla="*/ 55 w 70"/>
                <a:gd name="T1" fmla="*/ 81 h 81"/>
                <a:gd name="T2" fmla="*/ 38 w 70"/>
                <a:gd name="T3" fmla="*/ 54 h 81"/>
                <a:gd name="T4" fmla="*/ 18 w 70"/>
                <a:gd name="T5" fmla="*/ 28 h 81"/>
                <a:gd name="T6" fmla="*/ 18 w 70"/>
                <a:gd name="T7" fmla="*/ 81 h 81"/>
                <a:gd name="T8" fmla="*/ 0 w 70"/>
                <a:gd name="T9" fmla="*/ 81 h 81"/>
                <a:gd name="T10" fmla="*/ 0 w 70"/>
                <a:gd name="T11" fmla="*/ 0 h 81"/>
                <a:gd name="T12" fmla="*/ 15 w 70"/>
                <a:gd name="T13" fmla="*/ 0 h 81"/>
                <a:gd name="T14" fmla="*/ 24 w 70"/>
                <a:gd name="T15" fmla="*/ 9 h 81"/>
                <a:gd name="T16" fmla="*/ 33 w 70"/>
                <a:gd name="T17" fmla="*/ 21 h 81"/>
                <a:gd name="T18" fmla="*/ 43 w 70"/>
                <a:gd name="T19" fmla="*/ 35 h 81"/>
                <a:gd name="T20" fmla="*/ 52 w 70"/>
                <a:gd name="T21" fmla="*/ 48 h 81"/>
                <a:gd name="T22" fmla="*/ 52 w 70"/>
                <a:gd name="T23" fmla="*/ 0 h 81"/>
                <a:gd name="T24" fmla="*/ 70 w 70"/>
                <a:gd name="T25" fmla="*/ 0 h 81"/>
                <a:gd name="T26" fmla="*/ 70 w 70"/>
                <a:gd name="T27" fmla="*/ 81 h 81"/>
                <a:gd name="T28" fmla="*/ 55 w 70"/>
                <a:gd name="T2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 h="81">
                  <a:moveTo>
                    <a:pt x="55" y="81"/>
                  </a:moveTo>
                  <a:cubicBezTo>
                    <a:pt x="50" y="72"/>
                    <a:pt x="44" y="63"/>
                    <a:pt x="38" y="54"/>
                  </a:cubicBezTo>
                  <a:cubicBezTo>
                    <a:pt x="32" y="44"/>
                    <a:pt x="25" y="36"/>
                    <a:pt x="18" y="28"/>
                  </a:cubicBezTo>
                  <a:cubicBezTo>
                    <a:pt x="18" y="81"/>
                    <a:pt x="18" y="81"/>
                    <a:pt x="18" y="81"/>
                  </a:cubicBezTo>
                  <a:cubicBezTo>
                    <a:pt x="0" y="81"/>
                    <a:pt x="0" y="81"/>
                    <a:pt x="0" y="81"/>
                  </a:cubicBezTo>
                  <a:cubicBezTo>
                    <a:pt x="0" y="0"/>
                    <a:pt x="0" y="0"/>
                    <a:pt x="0" y="0"/>
                  </a:cubicBezTo>
                  <a:cubicBezTo>
                    <a:pt x="15" y="0"/>
                    <a:pt x="15" y="0"/>
                    <a:pt x="15" y="0"/>
                  </a:cubicBezTo>
                  <a:cubicBezTo>
                    <a:pt x="18" y="2"/>
                    <a:pt x="21" y="6"/>
                    <a:pt x="24" y="9"/>
                  </a:cubicBezTo>
                  <a:cubicBezTo>
                    <a:pt x="27" y="13"/>
                    <a:pt x="30" y="17"/>
                    <a:pt x="33" y="21"/>
                  </a:cubicBezTo>
                  <a:cubicBezTo>
                    <a:pt x="37" y="26"/>
                    <a:pt x="40" y="30"/>
                    <a:pt x="43" y="35"/>
                  </a:cubicBezTo>
                  <a:cubicBezTo>
                    <a:pt x="46" y="39"/>
                    <a:pt x="49" y="44"/>
                    <a:pt x="52" y="48"/>
                  </a:cubicBezTo>
                  <a:cubicBezTo>
                    <a:pt x="52" y="0"/>
                    <a:pt x="52" y="0"/>
                    <a:pt x="52" y="0"/>
                  </a:cubicBezTo>
                  <a:cubicBezTo>
                    <a:pt x="70" y="0"/>
                    <a:pt x="70" y="0"/>
                    <a:pt x="70" y="0"/>
                  </a:cubicBezTo>
                  <a:cubicBezTo>
                    <a:pt x="70" y="81"/>
                    <a:pt x="70" y="81"/>
                    <a:pt x="70" y="81"/>
                  </a:cubicBezTo>
                  <a:lnTo>
                    <a:pt x="55" y="81"/>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31">
              <a:extLst>
                <a:ext uri="{FF2B5EF4-FFF2-40B4-BE49-F238E27FC236}">
                  <a16:creationId xmlns:a16="http://schemas.microsoft.com/office/drawing/2014/main" id="{31DC14F8-11FE-07E7-0C02-7F4985A076B5}"/>
                </a:ext>
              </a:extLst>
            </p:cNvPr>
            <p:cNvSpPr>
              <a:spLocks/>
            </p:cNvSpPr>
            <p:nvPr userDrawn="1"/>
          </p:nvSpPr>
          <p:spPr bwMode="auto">
            <a:xfrm>
              <a:off x="10883901" y="6403976"/>
              <a:ext cx="161925" cy="196850"/>
            </a:xfrm>
            <a:custGeom>
              <a:avLst/>
              <a:gdLst>
                <a:gd name="T0" fmla="*/ 102 w 102"/>
                <a:gd name="T1" fmla="*/ 0 h 124"/>
                <a:gd name="T2" fmla="*/ 102 w 102"/>
                <a:gd name="T3" fmla="*/ 23 h 124"/>
                <a:gd name="T4" fmla="*/ 66 w 102"/>
                <a:gd name="T5" fmla="*/ 23 h 124"/>
                <a:gd name="T6" fmla="*/ 66 w 102"/>
                <a:gd name="T7" fmla="*/ 124 h 124"/>
                <a:gd name="T8" fmla="*/ 37 w 102"/>
                <a:gd name="T9" fmla="*/ 124 h 124"/>
                <a:gd name="T10" fmla="*/ 37 w 102"/>
                <a:gd name="T11" fmla="*/ 23 h 124"/>
                <a:gd name="T12" fmla="*/ 0 w 102"/>
                <a:gd name="T13" fmla="*/ 23 h 124"/>
                <a:gd name="T14" fmla="*/ 0 w 102"/>
                <a:gd name="T15" fmla="*/ 0 h 124"/>
                <a:gd name="T16" fmla="*/ 102 w 102"/>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24">
                  <a:moveTo>
                    <a:pt x="102" y="0"/>
                  </a:moveTo>
                  <a:lnTo>
                    <a:pt x="102" y="23"/>
                  </a:lnTo>
                  <a:lnTo>
                    <a:pt x="66" y="23"/>
                  </a:lnTo>
                  <a:lnTo>
                    <a:pt x="66" y="124"/>
                  </a:lnTo>
                  <a:lnTo>
                    <a:pt x="37" y="124"/>
                  </a:lnTo>
                  <a:lnTo>
                    <a:pt x="37" y="23"/>
                  </a:lnTo>
                  <a:lnTo>
                    <a:pt x="0" y="23"/>
                  </a:lnTo>
                  <a:lnTo>
                    <a:pt x="0" y="0"/>
                  </a:lnTo>
                  <a:lnTo>
                    <a:pt x="102"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7" name="Rectangle 36">
              <a:extLst>
                <a:ext uri="{FF2B5EF4-FFF2-40B4-BE49-F238E27FC236}">
                  <a16:creationId xmlns:a16="http://schemas.microsoft.com/office/drawing/2014/main" id="{FA1AF34B-DE9C-A4E3-093F-BE0EF88577F4}"/>
                </a:ext>
              </a:extLst>
            </p:cNvPr>
            <p:cNvSpPr>
              <a:spLocks noChangeArrowheads="1"/>
            </p:cNvSpPr>
            <p:nvPr userDrawn="1"/>
          </p:nvSpPr>
          <p:spPr bwMode="auto">
            <a:xfrm>
              <a:off x="9396413" y="6100763"/>
              <a:ext cx="42863" cy="50482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24055057"/>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Only Title and Layout_with Eyebrow text">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3D6CCA-5023-D91C-5084-3ED466DC8001}"/>
              </a:ext>
            </a:extLst>
          </p:cNvPr>
          <p:cNvSpPr>
            <a:spLocks noGrp="1"/>
          </p:cNvSpPr>
          <p:nvPr>
            <p:ph type="title" hasCustomPrompt="1"/>
          </p:nvPr>
        </p:nvSpPr>
        <p:spPr/>
        <p:txBody>
          <a:bodyPr/>
          <a:lstStyle>
            <a:lvl1pPr>
              <a:defRPr>
                <a:solidFill>
                  <a:schemeClr val="bg1"/>
                </a:solidFill>
              </a:defRPr>
            </a:lvl1pPr>
          </a:lstStyle>
          <a:p>
            <a:r>
              <a:rPr lang="en-US" noProof="0"/>
              <a:t>Insert page title (sentence case) </a:t>
            </a:r>
            <a:endParaRPr lang="en-US"/>
          </a:p>
        </p:txBody>
      </p:sp>
      <p:sp>
        <p:nvSpPr>
          <p:cNvPr id="3" name="Text Placeholder 9">
            <a:extLst>
              <a:ext uri="{FF2B5EF4-FFF2-40B4-BE49-F238E27FC236}">
                <a16:creationId xmlns:a16="http://schemas.microsoft.com/office/drawing/2014/main" id="{47CD8ECA-76B3-0FAC-74E0-56BCCCE83D4F}"/>
              </a:ext>
            </a:extLst>
          </p:cNvPr>
          <p:cNvSpPr>
            <a:spLocks noGrp="1"/>
          </p:cNvSpPr>
          <p:nvPr>
            <p:ph type="body" sz="quarter" idx="16" hasCustomPrompt="1"/>
          </p:nvPr>
        </p:nvSpPr>
        <p:spPr>
          <a:xfrm>
            <a:off x="414971" y="164754"/>
            <a:ext cx="5681029" cy="153888"/>
          </a:xfrm>
          <a:prstGeom prst="rect">
            <a:avLst/>
          </a:prstGeom>
        </p:spPr>
        <p:txBody>
          <a:bodyPr wrap="square">
            <a:spAutoFit/>
          </a:bodyPr>
          <a:lstStyle>
            <a:lvl1pPr>
              <a:defRPr sz="1000" b="0" cap="all" baseline="0">
                <a:solidFill>
                  <a:schemeClr val="accent2"/>
                </a:solidFill>
                <a:latin typeface="Ubuntu" panose="020B050403060203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Type eyebrow text here</a:t>
            </a:r>
            <a:endParaRPr lang="fr-FR"/>
          </a:p>
        </p:txBody>
      </p:sp>
    </p:spTree>
    <p:extLst>
      <p:ext uri="{BB962C8B-B14F-4D97-AF65-F5344CB8AC3E}">
        <p14:creationId xmlns:p14="http://schemas.microsoft.com/office/powerpoint/2010/main" val="33376514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ubtitle Content Grey">
    <p:bg>
      <p:bgPr>
        <a:solidFill>
          <a:schemeClr val="accent4"/>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bg1"/>
                </a:solidFill>
                <a:latin typeface="Ubuntu" panose="020B0504030602030204" pitchFamily="34" charset="0"/>
              </a:defRPr>
            </a:lvl1pPr>
          </a:lstStyle>
          <a:p>
            <a:pPr lvl="0"/>
            <a:r>
              <a:rPr lang="en-US"/>
              <a:t>Click to change the styles of the mask text</a:t>
            </a:r>
            <a:endParaRPr lang="fr-F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hasCustomPrompt="1"/>
          </p:nvPr>
        </p:nvSpPr>
        <p:spPr>
          <a:xfrm>
            <a:off x="414971" y="1624108"/>
            <a:ext cx="11369042" cy="4829080"/>
          </a:xfrm>
          <a:prstGeom prst="rect">
            <a:avLst/>
          </a:prstGeom>
        </p:spPr>
        <p:txBody>
          <a:bodyPr>
            <a:noAutofit/>
          </a:bodyPr>
          <a:lstStyle>
            <a:lvl1pPr>
              <a:defRPr>
                <a:solidFill>
                  <a:schemeClr val="bg1"/>
                </a:solidFill>
              </a:defRPr>
            </a:lvl1pPr>
            <a:lvl2pPr>
              <a:buClr>
                <a:schemeClr val="bg1"/>
              </a:buClr>
              <a:defRPr>
                <a:solidFill>
                  <a:schemeClr val="bg1"/>
                </a:solidFill>
              </a:defRPr>
            </a:lvl2pPr>
            <a:lvl3pPr marL="360000" indent="-180000">
              <a:buFont typeface="Verdana" panose="020B0604030504040204" pitchFamily="34" charset="0"/>
              <a:buChar char="–"/>
              <a:defRPr>
                <a:solidFill>
                  <a:schemeClr val="bg1"/>
                </a:solidFill>
              </a:defRPr>
            </a:lvl3pPr>
            <a:lvl4pPr marL="539750" indent="-180000">
              <a:buFont typeface="Arial" panose="020B0604020202020204" pitchFamily="34" charset="0"/>
              <a:buChar char="•"/>
              <a:defRPr>
                <a:solidFill>
                  <a:schemeClr val="bg1"/>
                </a:solidFill>
              </a:defRPr>
            </a:lvl4pPr>
            <a:lvl5pPr marL="719138" indent="-180975">
              <a:buFont typeface="Courier New" panose="02070309020205020404" pitchFamily="49" charset="0"/>
              <a:buChar char="o"/>
              <a:defRPr>
                <a:solidFill>
                  <a:schemeClr val="bg1"/>
                </a:solidFill>
              </a:defRPr>
            </a:lvl5pPr>
          </a:lstStyle>
          <a:p>
            <a:pPr lvl="0"/>
            <a:r>
              <a:rPr lang="en-US"/>
              <a:t>Click to change the styles of the mask text</a:t>
            </a:r>
            <a:endParaRPr lang="fr-F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92564CED-1C28-DF10-1067-5941504A95A0}"/>
              </a:ext>
            </a:extLst>
          </p:cNvPr>
          <p:cNvSpPr>
            <a:spLocks noGrp="1"/>
          </p:cNvSpPr>
          <p:nvPr>
            <p:ph type="title" hasCustomPrompt="1"/>
          </p:nvPr>
        </p:nvSpPr>
        <p:spPr/>
        <p:txBody>
          <a:bodyPr/>
          <a:lstStyle>
            <a:lvl1pPr>
              <a:defRPr>
                <a:solidFill>
                  <a:schemeClr val="bg1"/>
                </a:solidFill>
              </a:defRPr>
            </a:lvl1pPr>
          </a:lstStyle>
          <a:p>
            <a:r>
              <a:rPr lang="en-US" noProof="0"/>
              <a:t>Insert page title (sentence case) </a:t>
            </a:r>
          </a:p>
        </p:txBody>
      </p:sp>
    </p:spTree>
    <p:extLst>
      <p:ext uri="{BB962C8B-B14F-4D97-AF65-F5344CB8AC3E}">
        <p14:creationId xmlns:p14="http://schemas.microsoft.com/office/powerpoint/2010/main" val="174250859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Title Only Short Dark">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7D3C6BC6-663C-C133-76CE-9BAB02DAEDB3}"/>
              </a:ext>
            </a:extLst>
          </p:cNvPr>
          <p:cNvSpPr>
            <a:spLocks noGrp="1"/>
          </p:cNvSpPr>
          <p:nvPr>
            <p:ph type="pic" sz="quarter" idx="18" hasCustomPrompt="1"/>
          </p:nvPr>
        </p:nvSpPr>
        <p:spPr>
          <a:xfrm>
            <a:off x="7967663" y="1122907"/>
            <a:ext cx="4224338"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bg1"/>
                </a:solidFill>
              </a:defRPr>
            </a:lvl1pPr>
          </a:lstStyle>
          <a:p>
            <a:r>
              <a:rPr lang="de-DE"/>
              <a:t>Insert Picture and send </a:t>
            </a:r>
            <a:r>
              <a:rPr lang="de-DE" err="1"/>
              <a:t>to</a:t>
            </a:r>
            <a:r>
              <a:rPr lang="de-DE"/>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337213" cy="246221"/>
          </a:xfrm>
          <a:prstGeom prst="rect">
            <a:avLst/>
          </a:prstGeom>
        </p:spPr>
        <p:txBody>
          <a:bodyPr wrap="square" lIns="0" rIns="72000">
            <a:spAutoFit/>
          </a:bodyPr>
          <a:lstStyle>
            <a:lvl1pPr>
              <a:defRPr sz="1600" b="0">
                <a:solidFill>
                  <a:schemeClr val="bg1"/>
                </a:solidFill>
                <a:latin typeface="Ubuntu" panose="020B05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hasCustomPrompt="1"/>
          </p:nvPr>
        </p:nvSpPr>
        <p:spPr>
          <a:xfrm>
            <a:off x="414971" y="1628800"/>
            <a:ext cx="7337213" cy="4824388"/>
          </a:xfrm>
          <a:prstGeom prst="rect">
            <a:avLst/>
          </a:prstGeom>
        </p:spPr>
        <p:txBody>
          <a:bodyPr rIns="216000">
            <a:noAutofit/>
          </a:bodyPr>
          <a:lstStyle>
            <a:lvl1pPr>
              <a:defRPr sz="1400">
                <a:solidFill>
                  <a:schemeClr val="bg1"/>
                </a:solidFill>
              </a:defRPr>
            </a:lvl1pPr>
            <a:lvl2pPr>
              <a:buClrTx/>
              <a:defRPr sz="1400">
                <a:solidFill>
                  <a:schemeClr val="bg1"/>
                </a:solidFill>
              </a:defRPr>
            </a:lvl2pPr>
            <a:lvl3pPr marL="360000" indent="-180000">
              <a:buClrTx/>
              <a:buFont typeface="Verdana" panose="020B0604030504040204" pitchFamily="34" charset="0"/>
              <a:buChar char="–"/>
              <a:defRPr sz="1400">
                <a:solidFill>
                  <a:schemeClr val="bg1"/>
                </a:solidFill>
              </a:defRPr>
            </a:lvl3pPr>
            <a:lvl4pPr marL="539750" indent="-180000">
              <a:buClrTx/>
              <a:buFont typeface="Arial" panose="020B0604020202020204" pitchFamily="34" charset="0"/>
              <a:buChar char="•"/>
              <a:defRPr sz="1200">
                <a:solidFill>
                  <a:schemeClr val="bg1"/>
                </a:solidFill>
              </a:defRPr>
            </a:lvl4pPr>
            <a:lvl5pPr marL="719138" indent="-180975">
              <a:buClrTx/>
              <a:buFont typeface="Courier New" panose="02070309020205020404" pitchFamily="49" charset="0"/>
              <a:buChar char="o"/>
              <a:defRPr sz="1200">
                <a:solidFill>
                  <a:schemeClr val="bg1"/>
                </a:solidFill>
              </a:defRPr>
            </a:lvl5pPr>
          </a:lstStyle>
          <a:p>
            <a:pPr lvl="0"/>
            <a:r>
              <a:rPr lang="en-US"/>
              <a:t>Click to change the styles of the mask text</a:t>
            </a:r>
            <a:endParaRPr lang="fr-F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2">
            <a:extLst>
              <a:ext uri="{FF2B5EF4-FFF2-40B4-BE49-F238E27FC236}">
                <a16:creationId xmlns:a16="http://schemas.microsoft.com/office/drawing/2014/main" id="{FC5D9B30-9A2C-505E-36D0-05AF0DBAAC3C}"/>
              </a:ext>
            </a:extLst>
          </p:cNvPr>
          <p:cNvSpPr>
            <a:spLocks noGrp="1"/>
          </p:cNvSpPr>
          <p:nvPr>
            <p:ph type="title" hasCustomPrompt="1"/>
          </p:nvPr>
        </p:nvSpPr>
        <p:spPr/>
        <p:txBody>
          <a:bodyPr/>
          <a:lstStyle>
            <a:lvl1pPr>
              <a:defRPr>
                <a:solidFill>
                  <a:schemeClr val="bg1"/>
                </a:solidFill>
              </a:defRPr>
            </a:lvl1pPr>
          </a:lstStyle>
          <a:p>
            <a:r>
              <a:rPr lang="en-US" noProof="0"/>
              <a:t>Insert page title (sentence case) </a:t>
            </a:r>
          </a:p>
        </p:txBody>
      </p:sp>
      <p:grpSp>
        <p:nvGrpSpPr>
          <p:cNvPr id="6" name="Groupe 1">
            <a:extLst>
              <a:ext uri="{FF2B5EF4-FFF2-40B4-BE49-F238E27FC236}">
                <a16:creationId xmlns:a16="http://schemas.microsoft.com/office/drawing/2014/main" id="{034857B0-1772-F594-8E4C-17BB151BA7C9}"/>
              </a:ext>
            </a:extLst>
          </p:cNvPr>
          <p:cNvGrpSpPr/>
          <p:nvPr userDrawn="1"/>
        </p:nvGrpSpPr>
        <p:grpSpPr>
          <a:xfrm>
            <a:off x="11501102" y="171573"/>
            <a:ext cx="419436" cy="388988"/>
            <a:chOff x="11501102" y="171573"/>
            <a:chExt cx="419436" cy="388988"/>
          </a:xfrm>
        </p:grpSpPr>
        <p:sp>
          <p:nvSpPr>
            <p:cNvPr id="7" name="Freeform 13">
              <a:extLst>
                <a:ext uri="{FF2B5EF4-FFF2-40B4-BE49-F238E27FC236}">
                  <a16:creationId xmlns:a16="http://schemas.microsoft.com/office/drawing/2014/main" id="{EEA71183-A0F3-EE66-1093-265E04828842}"/>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F7235E56-A11E-4C7A-1A2C-733CF7FC4CE3}"/>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 name="Rectangle 27">
            <a:extLst>
              <a:ext uri="{FF2B5EF4-FFF2-40B4-BE49-F238E27FC236}">
                <a16:creationId xmlns:a16="http://schemas.microsoft.com/office/drawing/2014/main" id="{C9026422-B5A3-01D6-C363-229260BE4CB0}"/>
              </a:ext>
            </a:extLst>
          </p:cNvPr>
          <p:cNvSpPr/>
          <p:nvPr userDrawn="1"/>
        </p:nvSpPr>
        <p:spPr>
          <a:xfrm>
            <a:off x="40683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chemeClr val="bg1">
                    <a:lumMod val="65000"/>
                  </a:schemeClr>
                </a:solidFill>
                <a:latin typeface="+mn-lt"/>
                <a:cs typeface="Arial" panose="020B0604020202020204" pitchFamily="34" charset="0"/>
              </a:rPr>
              <a:t>Presentation Title  |  Author  |  Date</a:t>
            </a:r>
          </a:p>
        </p:txBody>
      </p:sp>
      <p:sp>
        <p:nvSpPr>
          <p:cNvPr id="10" name="Rectangle 27">
            <a:extLst>
              <a:ext uri="{FF2B5EF4-FFF2-40B4-BE49-F238E27FC236}">
                <a16:creationId xmlns:a16="http://schemas.microsoft.com/office/drawing/2014/main" id="{6DB70975-292E-3645-710A-D598791D7AA8}"/>
              </a:ext>
            </a:extLst>
          </p:cNvPr>
          <p:cNvSpPr/>
          <p:nvPr userDrawn="1"/>
        </p:nvSpPr>
        <p:spPr>
          <a:xfrm>
            <a:off x="2634986" y="6517871"/>
            <a:ext cx="5058466" cy="215231"/>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A6A6A6"/>
                </a:solidFill>
                <a:latin typeface="Ubuntu" panose="020B0504030602030204" pitchFamily="34" charset="0"/>
                <a:cs typeface="Arial" panose="020B0604020202020204" pitchFamily="34" charset="0"/>
              </a:rPr>
              <a:t>The information contained in this document is proprietary. </a:t>
            </a:r>
            <a:r>
              <a:rPr lang="en-GB" sz="700">
                <a:solidFill>
                  <a:schemeClr val="bg1">
                    <a:lumMod val="65000"/>
                  </a:schemeClr>
                </a:solidFill>
                <a:latin typeface="+mn-lt"/>
                <a:cs typeface="Arial" panose="020B0604020202020204" pitchFamily="34" charset="0"/>
              </a:rPr>
              <a:t>Company Confidential © Capgemini 2024. All rights reserved  |</a:t>
            </a:r>
          </a:p>
        </p:txBody>
      </p:sp>
      <p:sp>
        <p:nvSpPr>
          <p:cNvPr id="11" name="Rectangle 43">
            <a:extLst>
              <a:ext uri="{FF2B5EF4-FFF2-40B4-BE49-F238E27FC236}">
                <a16:creationId xmlns:a16="http://schemas.microsoft.com/office/drawing/2014/main" id="{C2AC52C8-923B-C19F-2394-8473E285E06D}"/>
              </a:ext>
            </a:extLst>
          </p:cNvPr>
          <p:cNvSpPr/>
          <p:nvPr userDrawn="1"/>
        </p:nvSpPr>
        <p:spPr>
          <a:xfrm>
            <a:off x="767834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1099098525"/>
      </p:ext>
    </p:extLst>
  </p:cSld>
  <p:clrMapOvr>
    <a:masterClrMapping/>
  </p:clrMapOvr>
  <p:extLst>
    <p:ext uri="{DCECCB84-F9BA-43D5-87BE-67443E8EF086}">
      <p15:sldGuideLst xmlns:p15="http://schemas.microsoft.com/office/powerpoint/2012/main">
        <p15:guide id="1" pos="5019">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2_Title Only Short Dark">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D947A8D9-3FE6-9441-652F-400363E70669}"/>
              </a:ext>
            </a:extLst>
          </p:cNvPr>
          <p:cNvSpPr>
            <a:spLocks noGrp="1"/>
          </p:cNvSpPr>
          <p:nvPr>
            <p:ph type="pic" sz="quarter" idx="18" hasCustomPrompt="1"/>
          </p:nvPr>
        </p:nvSpPr>
        <p:spPr>
          <a:xfrm>
            <a:off x="6096001" y="1122907"/>
            <a:ext cx="6096000"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bg1"/>
                </a:solidFill>
                <a:latin typeface="Ubuntu" panose="020B05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hasCustomPrompt="1"/>
          </p:nvPr>
        </p:nvSpPr>
        <p:spPr>
          <a:xfrm>
            <a:off x="414971" y="1627200"/>
            <a:ext cx="5545137" cy="4825988"/>
          </a:xfrm>
          <a:prstGeom prst="rect">
            <a:avLst/>
          </a:prstGeom>
        </p:spPr>
        <p:txBody>
          <a:bodyPr vert="horz" lIns="0" tIns="0" rIns="21600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buFont typeface="Verdana" panose="020B0604030504040204" pitchFamily="34" charset="0"/>
              <a:buChar char="–"/>
              <a:defRPr lang="en-US" sz="1400" kern="1200" dirty="0" smtClean="0">
                <a:solidFill>
                  <a:schemeClr val="bg1"/>
                </a:solidFill>
                <a:latin typeface="+mn-lt"/>
                <a:ea typeface="+mn-ea"/>
                <a:cs typeface="+mn-cs"/>
              </a:defRPr>
            </a:lvl3pPr>
            <a:lvl4pPr marL="539750" indent="-180000">
              <a:buClrTx/>
              <a:buFont typeface="Arial" panose="020B0604020202020204" pitchFamily="34" charset="0"/>
              <a:buChar char="•"/>
              <a:defRPr lang="en-US" sz="1200" kern="1200" dirty="0" smtClean="0">
                <a:solidFill>
                  <a:schemeClr val="bg1"/>
                </a:solidFill>
                <a:latin typeface="+mn-lt"/>
                <a:ea typeface="+mn-ea"/>
                <a:cs typeface="+mn-cs"/>
              </a:defRPr>
            </a:lvl4pPr>
            <a:lvl5pPr marL="719138" indent="-180975">
              <a:buClrTx/>
              <a:buFont typeface="Courier New" panose="02070309020205020404" pitchFamily="49" charset="0"/>
              <a:buChar char="o"/>
              <a:defRPr lang="en-US" sz="1200" kern="1200" dirty="0">
                <a:solidFill>
                  <a:schemeClr val="bg1"/>
                </a:solidFill>
                <a:latin typeface="+mn-lt"/>
                <a:ea typeface="+mn-ea"/>
                <a:cs typeface="+mn-cs"/>
              </a:defRPr>
            </a:lvl5pPr>
          </a:lstStyle>
          <a:p>
            <a:pPr lvl="0"/>
            <a:r>
              <a:rPr lang="en-US"/>
              <a:t>Click to change the styles of the mask text</a:t>
            </a:r>
            <a:endParaRPr lang="fr-F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2">
            <a:extLst>
              <a:ext uri="{FF2B5EF4-FFF2-40B4-BE49-F238E27FC236}">
                <a16:creationId xmlns:a16="http://schemas.microsoft.com/office/drawing/2014/main" id="{D325044F-30C6-C6D9-84C0-2B925714F572}"/>
              </a:ext>
            </a:extLst>
          </p:cNvPr>
          <p:cNvSpPr>
            <a:spLocks noGrp="1"/>
          </p:cNvSpPr>
          <p:nvPr>
            <p:ph type="title" hasCustomPrompt="1"/>
          </p:nvPr>
        </p:nvSpPr>
        <p:spPr/>
        <p:txBody>
          <a:bodyPr/>
          <a:lstStyle>
            <a:lvl1pPr>
              <a:defRPr>
                <a:solidFill>
                  <a:schemeClr val="bg1"/>
                </a:solidFill>
              </a:defRPr>
            </a:lvl1pPr>
          </a:lstStyle>
          <a:p>
            <a:r>
              <a:rPr lang="en-US" noProof="0"/>
              <a:t>Insert page title (sentence case) </a:t>
            </a:r>
          </a:p>
        </p:txBody>
      </p:sp>
      <p:grpSp>
        <p:nvGrpSpPr>
          <p:cNvPr id="6" name="Groupe 1">
            <a:extLst>
              <a:ext uri="{FF2B5EF4-FFF2-40B4-BE49-F238E27FC236}">
                <a16:creationId xmlns:a16="http://schemas.microsoft.com/office/drawing/2014/main" id="{9DEB12DC-47FB-875A-9BDE-9CD18D45A9D2}"/>
              </a:ext>
            </a:extLst>
          </p:cNvPr>
          <p:cNvGrpSpPr/>
          <p:nvPr userDrawn="1"/>
        </p:nvGrpSpPr>
        <p:grpSpPr>
          <a:xfrm>
            <a:off x="11501102" y="171573"/>
            <a:ext cx="419436" cy="388988"/>
            <a:chOff x="11501102" y="171573"/>
            <a:chExt cx="419436" cy="388988"/>
          </a:xfrm>
        </p:grpSpPr>
        <p:sp>
          <p:nvSpPr>
            <p:cNvPr id="7" name="Freeform 13">
              <a:extLst>
                <a:ext uri="{FF2B5EF4-FFF2-40B4-BE49-F238E27FC236}">
                  <a16:creationId xmlns:a16="http://schemas.microsoft.com/office/drawing/2014/main" id="{B5D0E9CD-8812-B547-ADCF-4BE14D9E2FCD}"/>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3C488861-9869-2A4A-F852-8458A54B1F65}"/>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0" name="Rectangle 27">
            <a:extLst>
              <a:ext uri="{FF2B5EF4-FFF2-40B4-BE49-F238E27FC236}">
                <a16:creationId xmlns:a16="http://schemas.microsoft.com/office/drawing/2014/main" id="{34F1A12A-E797-BA47-EE2B-EA2D8DD532FA}"/>
              </a:ext>
            </a:extLst>
          </p:cNvPr>
          <p:cNvSpPr/>
          <p:nvPr userDrawn="1"/>
        </p:nvSpPr>
        <p:spPr>
          <a:xfrm>
            <a:off x="510209" y="6517871"/>
            <a:ext cx="5310451" cy="215231"/>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A6A6A6"/>
                </a:solidFill>
                <a:latin typeface="Ubuntu" panose="020B0504030602030204" pitchFamily="34" charset="0"/>
                <a:cs typeface="Arial" panose="020B0604020202020204" pitchFamily="34" charset="0"/>
              </a:rPr>
              <a:t>The information contained in this document is proprietary. Copyright © 2024 Capgemini. All rights reserved. </a:t>
            </a:r>
            <a:r>
              <a:rPr lang="en-GB" sz="700">
                <a:solidFill>
                  <a:srgbClr val="A6A6A6"/>
                </a:solidFill>
                <a:latin typeface="Ubuntu" panose="020B0504030602030204" pitchFamily="34" charset="0"/>
                <a:cs typeface="Arial" panose="020B0604020202020204" pitchFamily="34" charset="0"/>
              </a:rPr>
              <a:t>|</a:t>
            </a:r>
          </a:p>
        </p:txBody>
      </p:sp>
      <p:sp>
        <p:nvSpPr>
          <p:cNvPr id="11" name="Rectangle 43">
            <a:extLst>
              <a:ext uri="{FF2B5EF4-FFF2-40B4-BE49-F238E27FC236}">
                <a16:creationId xmlns:a16="http://schemas.microsoft.com/office/drawing/2014/main" id="{67FA31EE-70FF-ECF6-867E-67C03BC05D13}"/>
              </a:ext>
            </a:extLst>
          </p:cNvPr>
          <p:cNvSpPr/>
          <p:nvPr userDrawn="1"/>
        </p:nvSpPr>
        <p:spPr>
          <a:xfrm>
            <a:off x="5805556"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345102925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Title Only Short Dark">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40C8F40-0AE5-4281-9868-B3C794BF6FD6}"/>
              </a:ext>
            </a:extLst>
          </p:cNvPr>
          <p:cNvSpPr>
            <a:spLocks noGrp="1"/>
          </p:cNvSpPr>
          <p:nvPr>
            <p:ph type="pic" sz="quarter" idx="19" hasCustomPrompt="1"/>
          </p:nvPr>
        </p:nvSpPr>
        <p:spPr>
          <a:xfrm>
            <a:off x="-1" y="0"/>
            <a:ext cx="4208053"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p:nvPr>
        </p:nvSpPr>
        <p:spPr>
          <a:xfrm>
            <a:off x="4444744" y="1126800"/>
            <a:ext cx="6962544" cy="246221"/>
          </a:xfrm>
          <a:prstGeom prst="rect">
            <a:avLst/>
          </a:prstGeom>
        </p:spPr>
        <p:txBody>
          <a:bodyPr wrap="square" lIns="0" rIns="72000">
            <a:spAutoFit/>
          </a:bodyPr>
          <a:lstStyle>
            <a:lvl1pPr>
              <a:defRPr sz="1600" b="0">
                <a:solidFill>
                  <a:schemeClr val="bg1"/>
                </a:solidFill>
                <a:latin typeface="+mn-lt"/>
              </a:defRPr>
            </a:lvl1pPr>
          </a:lstStyle>
          <a:p>
            <a:pPr lvl="0"/>
            <a:r>
              <a:rPr lang="en-US" noProof="0"/>
              <a:t>Click to edit Master text styles</a:t>
            </a: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hasCustomPrompt="1"/>
          </p:nvPr>
        </p:nvSpPr>
        <p:spPr>
          <a:xfrm>
            <a:off x="4445407" y="1627200"/>
            <a:ext cx="6962544"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buFont typeface="Verdana" panose="020B0604030504040204" pitchFamily="34" charset="0"/>
              <a:buChar char="–"/>
              <a:defRPr lang="en-US" sz="1400" kern="1200" dirty="0" smtClean="0">
                <a:solidFill>
                  <a:schemeClr val="bg1"/>
                </a:solidFill>
                <a:latin typeface="+mn-lt"/>
                <a:ea typeface="+mn-ea"/>
                <a:cs typeface="+mn-cs"/>
              </a:defRPr>
            </a:lvl3pPr>
            <a:lvl4pPr marL="539750" indent="-180000">
              <a:buClrTx/>
              <a:buFont typeface="Arial" panose="020B0604020202020204" pitchFamily="34" charset="0"/>
              <a:buChar char="•"/>
              <a:defRPr lang="en-US" sz="1200" kern="1200" dirty="0" smtClean="0">
                <a:solidFill>
                  <a:schemeClr val="bg1"/>
                </a:solidFill>
                <a:latin typeface="+mn-lt"/>
                <a:ea typeface="+mn-ea"/>
                <a:cs typeface="+mn-cs"/>
              </a:defRPr>
            </a:lvl4pPr>
            <a:lvl5pPr marL="719138" indent="-180975">
              <a:buClrTx/>
              <a:buFont typeface="Courier New" panose="02070309020205020404" pitchFamily="49" charset="0"/>
              <a:buChar char="o"/>
              <a:defRPr lang="en-US" sz="1200" kern="1200" dirty="0">
                <a:solidFill>
                  <a:schemeClr val="bg1"/>
                </a:solidFill>
                <a:latin typeface="+mn-lt"/>
                <a:ea typeface="+mn-ea"/>
                <a:cs typeface="+mn-cs"/>
              </a:defRPr>
            </a:lvl5pPr>
          </a:lstStyle>
          <a:p>
            <a:pPr lvl="0"/>
            <a:r>
              <a:rPr lang="en-US" noProof="0"/>
              <a:t>Click to change the styles of the mask text</a:t>
            </a:r>
          </a:p>
          <a:p>
            <a:pPr lvl="1"/>
            <a:r>
              <a:rPr lang="en-US" noProof="0"/>
              <a:t>Second level</a:t>
            </a:r>
          </a:p>
          <a:p>
            <a:pPr lvl="2"/>
            <a:r>
              <a:rPr lang="en-US" noProof="0"/>
              <a:t>Third level</a:t>
            </a:r>
          </a:p>
          <a:p>
            <a:pPr lvl="3"/>
            <a:r>
              <a:rPr lang="en-US" noProof="0"/>
              <a:t>Fourth Level</a:t>
            </a:r>
          </a:p>
          <a:p>
            <a:pPr lvl="4"/>
            <a:r>
              <a:rPr lang="en-US" noProof="0"/>
              <a:t>Fifth Level</a:t>
            </a:r>
          </a:p>
        </p:txBody>
      </p:sp>
      <p:grpSp>
        <p:nvGrpSpPr>
          <p:cNvPr id="14" name="Groupe 1">
            <a:extLst>
              <a:ext uri="{FF2B5EF4-FFF2-40B4-BE49-F238E27FC236}">
                <a16:creationId xmlns:a16="http://schemas.microsoft.com/office/drawing/2014/main" id="{DFFA4EA6-56A9-4F86-ABC0-8D91183AD408}"/>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C156B522-A0C0-42B8-BB11-65082FE767FF}"/>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4">
              <a:extLst>
                <a:ext uri="{FF2B5EF4-FFF2-40B4-BE49-F238E27FC236}">
                  <a16:creationId xmlns:a16="http://schemas.microsoft.com/office/drawing/2014/main" id="{43AD94EE-7857-4B4F-8194-A523D32A3519}"/>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Title 1">
            <a:extLst>
              <a:ext uri="{FF2B5EF4-FFF2-40B4-BE49-F238E27FC236}">
                <a16:creationId xmlns:a16="http://schemas.microsoft.com/office/drawing/2014/main" id="{63D8BFFB-83BD-8B73-4F5E-285DBB5281A2}"/>
              </a:ext>
            </a:extLst>
          </p:cNvPr>
          <p:cNvSpPr>
            <a:spLocks noGrp="1"/>
          </p:cNvSpPr>
          <p:nvPr>
            <p:ph type="title" hasCustomPrompt="1"/>
          </p:nvPr>
        </p:nvSpPr>
        <p:spPr>
          <a:xfrm>
            <a:off x="4444744" y="260350"/>
            <a:ext cx="6978640" cy="792163"/>
          </a:xfrm>
        </p:spPr>
        <p:txBody>
          <a:bodyPr/>
          <a:lstStyle>
            <a:lvl1pPr>
              <a:defRPr>
                <a:solidFill>
                  <a:schemeClr val="bg1"/>
                </a:solidFill>
              </a:defRPr>
            </a:lvl1pPr>
          </a:lstStyle>
          <a:p>
            <a:r>
              <a:rPr lang="en-US" noProof="0"/>
              <a:t>Insert page title (sentence case) </a:t>
            </a:r>
          </a:p>
        </p:txBody>
      </p:sp>
    </p:spTree>
    <p:extLst>
      <p:ext uri="{BB962C8B-B14F-4D97-AF65-F5344CB8AC3E}">
        <p14:creationId xmlns:p14="http://schemas.microsoft.com/office/powerpoint/2010/main" val="2266462958"/>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4_Title Only Short Dark">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8A4E47E-A55F-4490-AD19-D9A415AA57C5}"/>
              </a:ext>
            </a:extLst>
          </p:cNvPr>
          <p:cNvSpPr>
            <a:spLocks noGrp="1"/>
          </p:cNvSpPr>
          <p:nvPr>
            <p:ph type="pic" sz="quarter" idx="19"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384032" y="1125538"/>
            <a:ext cx="5047879" cy="246221"/>
          </a:xfrm>
          <a:prstGeom prst="rect">
            <a:avLst/>
          </a:prstGeom>
        </p:spPr>
        <p:txBody>
          <a:bodyPr wrap="square" lIns="0" rIns="72000">
            <a:spAutoFit/>
          </a:bodyPr>
          <a:lstStyle>
            <a:lvl1pPr>
              <a:defRPr sz="1600" b="0">
                <a:solidFill>
                  <a:schemeClr val="bg1"/>
                </a:solidFill>
                <a:latin typeface="Ubuntu" panose="020B0504030602030204" pitchFamily="34" charset="0"/>
              </a:defRPr>
            </a:lvl1pPr>
          </a:lstStyle>
          <a:p>
            <a:pPr lvl="0"/>
            <a:r>
              <a:rPr lang="en-US"/>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hasCustomPrompt="1"/>
          </p:nvPr>
        </p:nvSpPr>
        <p:spPr>
          <a:xfrm>
            <a:off x="6384032" y="6907"/>
            <a:ext cx="5047879" cy="1127300"/>
          </a:xfrm>
        </p:spPr>
        <p:txBody>
          <a:bodyPr/>
          <a:lstStyle>
            <a:lvl1pPr>
              <a:defRPr>
                <a:solidFill>
                  <a:schemeClr val="bg1"/>
                </a:solidFill>
              </a:defRPr>
            </a:lvl1pPr>
          </a:lstStyle>
          <a:p>
            <a:r>
              <a:rPr lang="en-US" noProof="0"/>
              <a:t>Insert page title (sentence case) </a:t>
            </a:r>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384032" y="1627200"/>
            <a:ext cx="5047879"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buFont typeface="Verdana" panose="020B0604030504040204" pitchFamily="34" charset="0"/>
              <a:buChar char="–"/>
              <a:defRPr lang="en-US" sz="1400" kern="1200" dirty="0" smtClean="0">
                <a:solidFill>
                  <a:schemeClr val="bg1"/>
                </a:solidFill>
                <a:latin typeface="+mn-lt"/>
                <a:ea typeface="+mn-ea"/>
                <a:cs typeface="+mn-cs"/>
              </a:defRPr>
            </a:lvl3pPr>
            <a:lvl4pPr marL="539750" indent="-180000">
              <a:buClrTx/>
              <a:buFont typeface="Arial" panose="020B0604020202020204" pitchFamily="34" charset="0"/>
              <a:buChar char="•"/>
              <a:defRPr lang="en-US" sz="1200" kern="1200" dirty="0" smtClean="0">
                <a:solidFill>
                  <a:schemeClr val="bg1"/>
                </a:solidFill>
                <a:latin typeface="+mn-lt"/>
                <a:ea typeface="+mn-ea"/>
                <a:cs typeface="+mn-cs"/>
              </a:defRPr>
            </a:lvl4pPr>
            <a:lvl5pPr marL="719138" indent="-180975">
              <a:buClrTx/>
              <a:buFont typeface="Courier New" panose="02070309020205020404" pitchFamily="49" charset="0"/>
              <a:buChar char="o"/>
              <a:defRPr lang="en-US" sz="1200" kern="1200" dirty="0">
                <a:solidFill>
                  <a:schemeClr val="bg1"/>
                </a:solidFill>
                <a:latin typeface="+mn-lt"/>
                <a:ea typeface="+mn-ea"/>
                <a:cs typeface="+mn-cs"/>
              </a:defRPr>
            </a:lvl5pPr>
          </a:lstStyle>
          <a:p>
            <a:pPr lvl="0"/>
            <a:r>
              <a:rPr lang="en-US"/>
              <a:t>Click to change the styles of the mask text</a:t>
            </a:r>
            <a:endParaRPr lang="fr-FR"/>
          </a:p>
          <a:p>
            <a:pPr lvl="1"/>
            <a:r>
              <a:rPr lang="fr-FR"/>
              <a:t>Second </a:t>
            </a:r>
            <a:r>
              <a:rPr lang="fr-FR" err="1"/>
              <a:t>level</a:t>
            </a:r>
            <a:endParaRPr lang="fr-FR"/>
          </a:p>
          <a:p>
            <a:pPr lvl="2"/>
            <a:r>
              <a:rPr lang="fr-FR" err="1"/>
              <a:t>Third</a:t>
            </a:r>
            <a:r>
              <a:rPr lang="fr-FR"/>
              <a:t> </a:t>
            </a:r>
            <a:r>
              <a:rPr lang="fr-FR" err="1"/>
              <a:t>level</a:t>
            </a:r>
            <a:endParaRPr lang="fr-FR"/>
          </a:p>
          <a:p>
            <a:pPr lvl="3"/>
            <a:r>
              <a:rPr lang="fr-FR" err="1"/>
              <a:t>Fourth</a:t>
            </a:r>
            <a:r>
              <a:rPr lang="fr-FR"/>
              <a:t> </a:t>
            </a:r>
            <a:r>
              <a:rPr lang="fr-FR" err="1"/>
              <a:t>Level</a:t>
            </a:r>
            <a:endParaRPr lang="fr-FR"/>
          </a:p>
          <a:p>
            <a:pPr lvl="4"/>
            <a:r>
              <a:rPr lang="fr-FR" err="1"/>
              <a:t>Fifth</a:t>
            </a:r>
            <a:r>
              <a:rPr lang="fr-FR"/>
              <a:t> </a:t>
            </a:r>
            <a:r>
              <a:rPr lang="fr-FR" err="1"/>
              <a:t>Level</a:t>
            </a:r>
            <a:endParaRPr lang="en-US"/>
          </a:p>
        </p:txBody>
      </p:sp>
      <p:grpSp>
        <p:nvGrpSpPr>
          <p:cNvPr id="16" name="Groupe 1">
            <a:extLst>
              <a:ext uri="{FF2B5EF4-FFF2-40B4-BE49-F238E27FC236}">
                <a16:creationId xmlns:a16="http://schemas.microsoft.com/office/drawing/2014/main" id="{E0AE299F-7351-4397-AACC-823584420C74}"/>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2EAF937C-9725-44A1-BB6F-11B4974BADA6}"/>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4">
              <a:extLst>
                <a:ext uri="{FF2B5EF4-FFF2-40B4-BE49-F238E27FC236}">
                  <a16:creationId xmlns:a16="http://schemas.microsoft.com/office/drawing/2014/main" id="{0B23023F-6948-45C1-A879-0B093E949B0A}"/>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6848899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Dark Blue">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p:nvPr>
        </p:nvSpPr>
        <p:spPr>
          <a:xfrm>
            <a:off x="414971" y="1125538"/>
            <a:ext cx="11369042" cy="246221"/>
          </a:xfrm>
          <a:prstGeom prst="rect">
            <a:avLst/>
          </a:prstGeom>
        </p:spPr>
        <p:txBody>
          <a:bodyPr lIns="0">
            <a:spAutoFit/>
          </a:bodyPr>
          <a:lstStyle>
            <a:lvl1pPr>
              <a:defRPr sz="1600" b="0">
                <a:solidFill>
                  <a:schemeClr val="bg1"/>
                </a:solidFill>
                <a:latin typeface="Ubuntu" panose="020B0504030602030204" pitchFamily="34" charset="0"/>
              </a:defRPr>
            </a:lvl1pPr>
          </a:lstStyle>
          <a:p>
            <a:pPr lvl="0"/>
            <a:r>
              <a:rPr lang="en-US" noProof="0"/>
              <a:t>Click to edit Master text styles</a:t>
            </a:r>
          </a:p>
        </p:txBody>
      </p:sp>
      <p:grpSp>
        <p:nvGrpSpPr>
          <p:cNvPr id="2" name="Group 37">
            <a:extLst>
              <a:ext uri="{FF2B5EF4-FFF2-40B4-BE49-F238E27FC236}">
                <a16:creationId xmlns:a16="http://schemas.microsoft.com/office/drawing/2014/main" id="{249954CA-1B4C-479D-8956-C152CD1D4255}"/>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86845868-3C42-0B91-A56D-1739F1EE523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321">
              <a:extLst>
                <a:ext uri="{FF2B5EF4-FFF2-40B4-BE49-F238E27FC236}">
                  <a16:creationId xmlns:a16="http://schemas.microsoft.com/office/drawing/2014/main" id="{F5D1D048-6CFA-0DCF-5953-84431BE6754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Title 2">
            <a:extLst>
              <a:ext uri="{FF2B5EF4-FFF2-40B4-BE49-F238E27FC236}">
                <a16:creationId xmlns:a16="http://schemas.microsoft.com/office/drawing/2014/main" id="{EE7D5AB5-F4DB-ECDA-A390-D44890647604}"/>
              </a:ext>
            </a:extLst>
          </p:cNvPr>
          <p:cNvSpPr>
            <a:spLocks noGrp="1"/>
          </p:cNvSpPr>
          <p:nvPr>
            <p:ph type="title" hasCustomPrompt="1"/>
          </p:nvPr>
        </p:nvSpPr>
        <p:spPr/>
        <p:txBody>
          <a:bodyPr/>
          <a:lstStyle>
            <a:lvl1pPr>
              <a:defRPr>
                <a:solidFill>
                  <a:schemeClr val="bg1"/>
                </a:solidFill>
              </a:defRPr>
            </a:lvl1pPr>
          </a:lstStyle>
          <a:p>
            <a:r>
              <a:rPr lang="en-US" noProof="0"/>
              <a:t>Insert page title (sentence case) </a:t>
            </a:r>
          </a:p>
        </p:txBody>
      </p:sp>
    </p:spTree>
    <p:extLst>
      <p:ext uri="{BB962C8B-B14F-4D97-AF65-F5344CB8AC3E}">
        <p14:creationId xmlns:p14="http://schemas.microsoft.com/office/powerpoint/2010/main" val="315888661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Blue">
    <p:bg>
      <p:bgPr>
        <a:solidFill>
          <a:schemeClr val="accent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321">
              <a:extLst>
                <a:ext uri="{FF2B5EF4-FFF2-40B4-BE49-F238E27FC236}">
                  <a16:creationId xmlns:a16="http://schemas.microsoft.com/office/drawing/2014/main" id="{DF832F2C-D3A7-4DE5-96EA-08ADD488B23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panose="020B05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8BF4754F-A565-D595-AC8C-9F0E9407F8F2}"/>
              </a:ext>
            </a:extLst>
          </p:cNvPr>
          <p:cNvSpPr>
            <a:spLocks noGrp="1"/>
          </p:cNvSpPr>
          <p:nvPr>
            <p:ph type="title" hasCustomPrompt="1"/>
          </p:nvPr>
        </p:nvSpPr>
        <p:spPr/>
        <p:txBody>
          <a:bodyPr/>
          <a:lstStyle>
            <a:lvl1pPr>
              <a:defRPr>
                <a:solidFill>
                  <a:schemeClr val="bg1"/>
                </a:solidFill>
              </a:defRPr>
            </a:lvl1pPr>
          </a:lstStyle>
          <a:p>
            <a:r>
              <a:rPr lang="en-US" noProof="0"/>
              <a:t>Insert page title (sentence case) </a:t>
            </a:r>
          </a:p>
        </p:txBody>
      </p:sp>
    </p:spTree>
    <p:extLst>
      <p:ext uri="{BB962C8B-B14F-4D97-AF65-F5344CB8AC3E}">
        <p14:creationId xmlns:p14="http://schemas.microsoft.com/office/powerpoint/2010/main" val="16206886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ontent Left White &amp; Image">
    <p:spTree>
      <p:nvGrpSpPr>
        <p:cNvPr id="1" name=""/>
        <p:cNvGrpSpPr/>
        <p:nvPr/>
      </p:nvGrpSpPr>
      <p:grpSpPr>
        <a:xfrm>
          <a:off x="0" y="0"/>
          <a:ext cx="0" cy="0"/>
          <a:chOff x="0" y="0"/>
          <a:chExt cx="0" cy="0"/>
        </a:xfrm>
      </p:grpSpPr>
      <p:sp>
        <p:nvSpPr>
          <p:cNvPr id="3" name="Picture Placeholder 18">
            <a:extLst>
              <a:ext uri="{FF2B5EF4-FFF2-40B4-BE49-F238E27FC236}">
                <a16:creationId xmlns:a16="http://schemas.microsoft.com/office/drawing/2014/main" id="{5CAE5525-158B-6161-23E7-E43B971ED5AD}"/>
              </a:ext>
            </a:extLst>
          </p:cNvPr>
          <p:cNvSpPr>
            <a:spLocks noGrp="1"/>
          </p:cNvSpPr>
          <p:nvPr>
            <p:ph type="pic" sz="quarter" idx="10" hasCustomPrompt="1"/>
          </p:nvPr>
        </p:nvSpPr>
        <p:spPr>
          <a:xfrm>
            <a:off x="7968207" y="908721"/>
            <a:ext cx="4223793"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908720"/>
            <a:ext cx="6624116" cy="1584176"/>
          </a:xfrm>
        </p:spPr>
        <p:txBody>
          <a:bodyPr vert="horz" lIns="0" tIns="0" rIns="0" bIns="0" rtlCol="0" anchor="b">
            <a:noAutofit/>
          </a:bodyPr>
          <a:lstStyle>
            <a:lvl1pPr>
              <a:defRPr lang="en-GB" sz="3600" cap="none" baseline="0">
                <a:solidFill>
                  <a:schemeClr val="tx1"/>
                </a:solidFill>
              </a:defRPr>
            </a:lvl1pPr>
          </a:lstStyle>
          <a:p>
            <a:pPr lvl="0"/>
            <a:r>
              <a:rPr lang="en-US"/>
              <a:t>Insert page title (sentence cas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hasCustomPrompt="1"/>
          </p:nvPr>
        </p:nvSpPr>
        <p:spPr>
          <a:xfrm>
            <a:off x="407988" y="2924944"/>
            <a:ext cx="6624115" cy="2808311"/>
          </a:xfrm>
          <a:prstGeom prst="rect">
            <a:avLst/>
          </a:prstGeom>
        </p:spPr>
        <p:txBody>
          <a:bodyPr>
            <a:noAutofit/>
          </a:bodyPr>
          <a:lstStyle>
            <a:lvl3pPr marL="360000" indent="-180000">
              <a:buFont typeface="Verdana" panose="020B0604030504040204" pitchFamily="34" charset="0"/>
              <a:buChar char="–"/>
              <a:defRPr/>
            </a:lvl3pPr>
            <a:lvl4pPr marL="539750" indent="-180000">
              <a:buFont typeface="Arial" panose="020B0604020202020204" pitchFamily="34" charset="0"/>
              <a:buChar char="•"/>
              <a:defRPr/>
            </a:lvl4pPr>
            <a:lvl5pPr marL="719138" indent="-180975">
              <a:buFont typeface="Courier New" panose="02070309020205020404" pitchFamily="49" charset="0"/>
              <a:buChar char="o"/>
              <a:defRPr/>
            </a:lvl5pPr>
          </a:lstStyle>
          <a:p>
            <a:pPr lvl="0"/>
            <a:r>
              <a:rPr lang="en-US" noProof="0"/>
              <a:t>Click to change the styles of the mask text</a:t>
            </a:r>
          </a:p>
          <a:p>
            <a:pPr lvl="1"/>
            <a:r>
              <a:rPr lang="en-US" noProof="0"/>
              <a:t>Second level</a:t>
            </a:r>
          </a:p>
          <a:p>
            <a:pPr lvl="2"/>
            <a:r>
              <a:rPr lang="en-US" noProof="0"/>
              <a:t>Third level</a:t>
            </a:r>
          </a:p>
          <a:p>
            <a:pPr lvl="3"/>
            <a:r>
              <a:rPr lang="en-US" noProof="0"/>
              <a:t>Fourth Level</a:t>
            </a:r>
          </a:p>
          <a:p>
            <a:pPr lvl="4"/>
            <a:r>
              <a:rPr lang="en-US" noProof="0"/>
              <a:t>Fifth Level</a:t>
            </a:r>
          </a:p>
        </p:txBody>
      </p:sp>
      <p:grpSp>
        <p:nvGrpSpPr>
          <p:cNvPr id="7" name="Groupe 1">
            <a:extLst>
              <a:ext uri="{FF2B5EF4-FFF2-40B4-BE49-F238E27FC236}">
                <a16:creationId xmlns:a16="http://schemas.microsoft.com/office/drawing/2014/main" id="{A3F0A237-520A-3F32-EF2B-B2DEB8CD42CC}"/>
              </a:ext>
            </a:extLst>
          </p:cNvPr>
          <p:cNvGrpSpPr/>
          <p:nvPr userDrawn="1"/>
        </p:nvGrpSpPr>
        <p:grpSpPr>
          <a:xfrm>
            <a:off x="11501102" y="171573"/>
            <a:ext cx="419436" cy="388988"/>
            <a:chOff x="11501102" y="171573"/>
            <a:chExt cx="419436" cy="388988"/>
          </a:xfrm>
        </p:grpSpPr>
        <p:sp>
          <p:nvSpPr>
            <p:cNvPr id="8" name="Freeform 13">
              <a:extLst>
                <a:ext uri="{FF2B5EF4-FFF2-40B4-BE49-F238E27FC236}">
                  <a16:creationId xmlns:a16="http://schemas.microsoft.com/office/drawing/2014/main" id="{FEF3F995-AC7C-868B-D43A-C58A7CD675BC}"/>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14">
              <a:extLst>
                <a:ext uri="{FF2B5EF4-FFF2-40B4-BE49-F238E27FC236}">
                  <a16:creationId xmlns:a16="http://schemas.microsoft.com/office/drawing/2014/main" id="{F73EF3BB-EB5B-0F96-5CED-C2DDBF3ADAE2}"/>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0" name="Rectangle 27">
            <a:extLst>
              <a:ext uri="{FF2B5EF4-FFF2-40B4-BE49-F238E27FC236}">
                <a16:creationId xmlns:a16="http://schemas.microsoft.com/office/drawing/2014/main" id="{9488E0C7-6737-2F0D-72EE-595CEA5470AF}"/>
              </a:ext>
            </a:extLst>
          </p:cNvPr>
          <p:cNvSpPr/>
          <p:nvPr userDrawn="1"/>
        </p:nvSpPr>
        <p:spPr>
          <a:xfrm>
            <a:off x="40683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chemeClr val="bg1">
                    <a:lumMod val="65000"/>
                  </a:schemeClr>
                </a:solidFill>
                <a:latin typeface="+mn-lt"/>
                <a:cs typeface="Arial" panose="020B0604020202020204" pitchFamily="34" charset="0"/>
              </a:rPr>
              <a:t>Presentation Title  |  Author  |  Date</a:t>
            </a:r>
          </a:p>
        </p:txBody>
      </p:sp>
      <p:sp>
        <p:nvSpPr>
          <p:cNvPr id="11" name="Rectangle 27">
            <a:extLst>
              <a:ext uri="{FF2B5EF4-FFF2-40B4-BE49-F238E27FC236}">
                <a16:creationId xmlns:a16="http://schemas.microsoft.com/office/drawing/2014/main" id="{2C62868F-1623-3701-8E37-07D590862717}"/>
              </a:ext>
            </a:extLst>
          </p:cNvPr>
          <p:cNvSpPr/>
          <p:nvPr userDrawn="1"/>
        </p:nvSpPr>
        <p:spPr>
          <a:xfrm>
            <a:off x="2654548" y="6517871"/>
            <a:ext cx="5058466" cy="215231"/>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A6A6A6"/>
                </a:solidFill>
                <a:latin typeface="Ubuntu" panose="020B0504030602030204" pitchFamily="34" charset="0"/>
                <a:cs typeface="Arial" panose="020B0604020202020204" pitchFamily="34" charset="0"/>
              </a:rPr>
              <a:t>The information contained in this document is proprietary. Copyright © 2024 Capgemini. All rights reserved. </a:t>
            </a:r>
            <a:r>
              <a:rPr lang="en-GB" sz="700">
                <a:solidFill>
                  <a:srgbClr val="A6A6A6"/>
                </a:solidFill>
                <a:latin typeface="Ubuntu" panose="020B0504030602030204" pitchFamily="34" charset="0"/>
                <a:cs typeface="Arial" panose="020B0604020202020204" pitchFamily="34" charset="0"/>
              </a:rPr>
              <a:t>|</a:t>
            </a:r>
          </a:p>
        </p:txBody>
      </p:sp>
      <p:sp>
        <p:nvSpPr>
          <p:cNvPr id="12" name="Rectangle 43">
            <a:extLst>
              <a:ext uri="{FF2B5EF4-FFF2-40B4-BE49-F238E27FC236}">
                <a16:creationId xmlns:a16="http://schemas.microsoft.com/office/drawing/2014/main" id="{8AC8B916-E139-2D13-9348-8111A8AB134A}"/>
              </a:ext>
            </a:extLst>
          </p:cNvPr>
          <p:cNvSpPr/>
          <p:nvPr userDrawn="1"/>
        </p:nvSpPr>
        <p:spPr>
          <a:xfrm>
            <a:off x="7697910"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39047269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Large Title &amp; Large Image">
    <p:bg>
      <p:bgPr>
        <a:solidFill>
          <a:schemeClr val="accent4"/>
        </a:solidFill>
        <a:effectLst/>
      </p:bgPr>
    </p:bg>
    <p:spTree>
      <p:nvGrpSpPr>
        <p:cNvPr id="1" name=""/>
        <p:cNvGrpSpPr/>
        <p:nvPr/>
      </p:nvGrpSpPr>
      <p:grpSpPr>
        <a:xfrm>
          <a:off x="0" y="0"/>
          <a:ext cx="0" cy="0"/>
          <a:chOff x="0" y="0"/>
          <a:chExt cx="0" cy="0"/>
        </a:xfrm>
      </p:grpSpPr>
      <p:sp>
        <p:nvSpPr>
          <p:cNvPr id="3" name="Picture Placeholder 18">
            <a:extLst>
              <a:ext uri="{FF2B5EF4-FFF2-40B4-BE49-F238E27FC236}">
                <a16:creationId xmlns:a16="http://schemas.microsoft.com/office/drawing/2014/main" id="{D3B1FE99-E8D3-C5FE-4E44-4E4EF67B45DA}"/>
              </a:ext>
            </a:extLst>
          </p:cNvPr>
          <p:cNvSpPr>
            <a:spLocks noGrp="1"/>
          </p:cNvSpPr>
          <p:nvPr>
            <p:ph type="pic" sz="quarter" idx="10" hasCustomPrompt="1"/>
          </p:nvPr>
        </p:nvSpPr>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692696"/>
            <a:ext cx="4751907" cy="1800200"/>
          </a:xfrm>
        </p:spPr>
        <p:txBody>
          <a:bodyPr vert="horz" lIns="0" tIns="0" rIns="0" bIns="0" rtlCol="0" anchor="b">
            <a:noAutofit/>
          </a:bodyPr>
          <a:lstStyle>
            <a:lvl1pPr>
              <a:lnSpc>
                <a:spcPct val="80000"/>
              </a:lnSpc>
              <a:defRPr lang="en-GB" sz="3600" baseline="0">
                <a:solidFill>
                  <a:schemeClr val="bg1"/>
                </a:solidFill>
              </a:defRPr>
            </a:lvl1pPr>
          </a:lstStyle>
          <a:p>
            <a:pPr lvl="0"/>
            <a:r>
              <a:rPr lang="en-US" noProof="0"/>
              <a:t>Insert page title (sentence case) </a:t>
            </a:r>
          </a:p>
        </p:txBody>
      </p:sp>
      <p:sp>
        <p:nvSpPr>
          <p:cNvPr id="10" name="Text Placeholder 9">
            <a:extLst>
              <a:ext uri="{FF2B5EF4-FFF2-40B4-BE49-F238E27FC236}">
                <a16:creationId xmlns:a16="http://schemas.microsoft.com/office/drawing/2014/main" id="{FC6DF15B-7249-491B-BFB7-9A33784178CD}"/>
              </a:ext>
            </a:extLst>
          </p:cNvPr>
          <p:cNvSpPr>
            <a:spLocks noGrp="1"/>
          </p:cNvSpPr>
          <p:nvPr>
            <p:ph type="body" sz="quarter" idx="12" hasCustomPrompt="1"/>
          </p:nvPr>
        </p:nvSpPr>
        <p:spPr>
          <a:xfrm>
            <a:off x="407988" y="2924944"/>
            <a:ext cx="4751907" cy="3528244"/>
          </a:xfrm>
          <a:prstGeom prst="rect">
            <a:avLst/>
          </a:prstGeom>
        </p:spPr>
        <p:txBody>
          <a:bodyPr>
            <a:noAutofit/>
          </a:bodyPr>
          <a:lstStyle>
            <a:lvl1pPr>
              <a:defRPr>
                <a:solidFill>
                  <a:schemeClr val="bg1"/>
                </a:solidFill>
              </a:defRPr>
            </a:lvl1pPr>
            <a:lvl2pPr>
              <a:buClr>
                <a:schemeClr val="bg1"/>
              </a:buClr>
              <a:defRPr>
                <a:solidFill>
                  <a:schemeClr val="bg1"/>
                </a:solidFill>
              </a:defRPr>
            </a:lvl2pPr>
            <a:lvl3pPr marL="360000" indent="-180000">
              <a:buClr>
                <a:schemeClr val="bg1"/>
              </a:buClr>
              <a:buFont typeface="Verdana" panose="020B0604030504040204" pitchFamily="34" charset="0"/>
              <a:buChar char="–"/>
              <a:defRPr>
                <a:solidFill>
                  <a:schemeClr val="bg1"/>
                </a:solidFill>
              </a:defRPr>
            </a:lvl3pPr>
            <a:lvl4pPr marL="539750" indent="-180000">
              <a:buClr>
                <a:schemeClr val="bg1"/>
              </a:buClr>
              <a:buFont typeface="Arial" panose="020B0604020202020204" pitchFamily="34" charset="0"/>
              <a:buChar char="•"/>
              <a:defRPr>
                <a:solidFill>
                  <a:schemeClr val="bg1"/>
                </a:solidFill>
              </a:defRPr>
            </a:lvl4pPr>
            <a:lvl5pPr marL="719138" indent="-180975">
              <a:buClr>
                <a:schemeClr val="bg1"/>
              </a:buClr>
              <a:buFont typeface="Courier New" panose="02070309020205020404" pitchFamily="49" charset="0"/>
              <a:buChar char="o"/>
              <a:defRPr>
                <a:solidFill>
                  <a:schemeClr val="bg1"/>
                </a:solidFill>
              </a:defRPr>
            </a:lvl5pPr>
          </a:lstStyle>
          <a:p>
            <a:pPr lvl="0"/>
            <a:r>
              <a:rPr lang="en-US" noProof="0"/>
              <a:t>Click to change the styles of the mask text</a:t>
            </a:r>
          </a:p>
          <a:p>
            <a:pPr lvl="1"/>
            <a:r>
              <a:rPr lang="en-US" noProof="0"/>
              <a:t>Second level</a:t>
            </a:r>
          </a:p>
          <a:p>
            <a:pPr lvl="2"/>
            <a:r>
              <a:rPr lang="en-US" noProof="0"/>
              <a:t>Third level</a:t>
            </a:r>
          </a:p>
          <a:p>
            <a:pPr lvl="3"/>
            <a:r>
              <a:rPr lang="en-US" noProof="0"/>
              <a:t>Fourth Level</a:t>
            </a:r>
          </a:p>
          <a:p>
            <a:pPr lvl="4"/>
            <a:r>
              <a:rPr lang="en-US" noProof="0"/>
              <a:t>Fifth Level</a:t>
            </a:r>
          </a:p>
        </p:txBody>
      </p:sp>
      <p:grpSp>
        <p:nvGrpSpPr>
          <p:cNvPr id="6" name="Groupe 1">
            <a:extLst>
              <a:ext uri="{FF2B5EF4-FFF2-40B4-BE49-F238E27FC236}">
                <a16:creationId xmlns:a16="http://schemas.microsoft.com/office/drawing/2014/main" id="{A3F39AA2-059E-265C-F7F7-FAE9230C41A4}"/>
              </a:ext>
            </a:extLst>
          </p:cNvPr>
          <p:cNvGrpSpPr/>
          <p:nvPr userDrawn="1"/>
        </p:nvGrpSpPr>
        <p:grpSpPr>
          <a:xfrm>
            <a:off x="11501102" y="171573"/>
            <a:ext cx="419436" cy="388988"/>
            <a:chOff x="11501102" y="171573"/>
            <a:chExt cx="419436" cy="388988"/>
          </a:xfrm>
        </p:grpSpPr>
        <p:sp>
          <p:nvSpPr>
            <p:cNvPr id="7" name="Freeform 13">
              <a:extLst>
                <a:ext uri="{FF2B5EF4-FFF2-40B4-BE49-F238E27FC236}">
                  <a16:creationId xmlns:a16="http://schemas.microsoft.com/office/drawing/2014/main" id="{072195B4-0CA6-C53F-4985-3DEAA2FF9532}"/>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00E08832-8E2D-C0DA-65B1-A87AFC7C8613}"/>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1" name="Rectangle 27">
            <a:extLst>
              <a:ext uri="{FF2B5EF4-FFF2-40B4-BE49-F238E27FC236}">
                <a16:creationId xmlns:a16="http://schemas.microsoft.com/office/drawing/2014/main" id="{66E1298A-8899-6638-9D29-0E877B367787}"/>
              </a:ext>
            </a:extLst>
          </p:cNvPr>
          <p:cNvSpPr/>
          <p:nvPr userDrawn="1"/>
        </p:nvSpPr>
        <p:spPr>
          <a:xfrm>
            <a:off x="767084" y="6517871"/>
            <a:ext cx="5058466" cy="215231"/>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A6A6A6"/>
                </a:solidFill>
                <a:latin typeface="Ubuntu" panose="020B0504030602030204" pitchFamily="34" charset="0"/>
                <a:cs typeface="Arial" panose="020B0604020202020204" pitchFamily="34" charset="0"/>
              </a:rPr>
              <a:t>The information contained in this document is proprietary. Copyright © 2024 Capgemini. All rights reserved. </a:t>
            </a:r>
            <a:r>
              <a:rPr lang="en-GB" sz="700">
                <a:solidFill>
                  <a:srgbClr val="A6A6A6"/>
                </a:solidFill>
                <a:latin typeface="Ubuntu" panose="020B0504030602030204" pitchFamily="34" charset="0"/>
                <a:cs typeface="Arial" panose="020B0604020202020204" pitchFamily="34" charset="0"/>
              </a:rPr>
              <a:t>|</a:t>
            </a:r>
          </a:p>
        </p:txBody>
      </p:sp>
      <p:sp>
        <p:nvSpPr>
          <p:cNvPr id="12" name="Rectangle 43">
            <a:extLst>
              <a:ext uri="{FF2B5EF4-FFF2-40B4-BE49-F238E27FC236}">
                <a16:creationId xmlns:a16="http://schemas.microsoft.com/office/drawing/2014/main" id="{47806121-E718-1C26-45D7-CAE84F1DD1E1}"/>
              </a:ext>
            </a:extLst>
          </p:cNvPr>
          <p:cNvSpPr/>
          <p:nvPr userDrawn="1"/>
        </p:nvSpPr>
        <p:spPr>
          <a:xfrm>
            <a:off x="5810446"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41756978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hasCustomPrompt="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insert subtitle (sentence case) </a:t>
            </a:r>
          </a:p>
        </p:txBody>
      </p:sp>
      <p:sp>
        <p:nvSpPr>
          <p:cNvPr id="5" name="Title">
            <a:extLst>
              <a:ext uri="{FF2B5EF4-FFF2-40B4-BE49-F238E27FC236}">
                <a16:creationId xmlns:a16="http://schemas.microsoft.com/office/drawing/2014/main" id="{EA67FB30-5217-5F8D-B4ED-781E4E0C8973}"/>
              </a:ext>
            </a:extLst>
          </p:cNvPr>
          <p:cNvSpPr>
            <a:spLocks noGrp="1"/>
          </p:cNvSpPr>
          <p:nvPr>
            <p:ph type="ctrTitle" hasCustomPrompt="1"/>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fr-FR"/>
              <a:t>Click to insert cover </a:t>
            </a:r>
            <a:r>
              <a:rPr lang="fr-FR" err="1"/>
              <a:t>title</a:t>
            </a:r>
            <a:r>
              <a:rPr lang="fr-FR"/>
              <a:t> (sentence case) </a:t>
            </a:r>
            <a:endParaRPr lang="en-GB"/>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
        <p:nvSpPr>
          <p:cNvPr id="2" name="Graphic 3">
            <a:extLst>
              <a:ext uri="{FF2B5EF4-FFF2-40B4-BE49-F238E27FC236}">
                <a16:creationId xmlns:a16="http://schemas.microsoft.com/office/drawing/2014/main" id="{B13F48F7-0254-1DFC-65A2-E747C2E40B36}"/>
              </a:ext>
            </a:extLst>
          </p:cNvPr>
          <p:cNvSpPr/>
          <p:nvPr userDrawn="1"/>
        </p:nvSpPr>
        <p:spPr>
          <a:xfrm>
            <a:off x="2081784" y="2393504"/>
            <a:ext cx="11013527" cy="4283932"/>
          </a:xfrm>
          <a:custGeom>
            <a:avLst/>
            <a:gdLst>
              <a:gd name="connsiteX0" fmla="*/ 7439120 w 7439501"/>
              <a:gd name="connsiteY0" fmla="*/ 30480 h 2893743"/>
              <a:gd name="connsiteX1" fmla="*/ 7433310 w 7439501"/>
              <a:gd name="connsiteY1" fmla="*/ 22860 h 2893743"/>
              <a:gd name="connsiteX2" fmla="*/ 7427500 w 7439501"/>
              <a:gd name="connsiteY2" fmla="*/ 15240 h 2893743"/>
              <a:gd name="connsiteX3" fmla="*/ 7421689 w 7439501"/>
              <a:gd name="connsiteY3" fmla="*/ 7620 h 2893743"/>
              <a:gd name="connsiteX4" fmla="*/ 7415879 w 7439501"/>
              <a:gd name="connsiteY4" fmla="*/ 0 h 2893743"/>
              <a:gd name="connsiteX5" fmla="*/ 7328249 w 7439501"/>
              <a:gd name="connsiteY5" fmla="*/ 64484 h 2893743"/>
              <a:gd name="connsiteX6" fmla="*/ 7251668 w 7439501"/>
              <a:gd name="connsiteY6" fmla="*/ 119444 h 2893743"/>
              <a:gd name="connsiteX7" fmla="*/ 7185756 w 7439501"/>
              <a:gd name="connsiteY7" fmla="*/ 164402 h 2893743"/>
              <a:gd name="connsiteX8" fmla="*/ 7131558 w 7439501"/>
              <a:gd name="connsiteY8" fmla="*/ 200692 h 2893743"/>
              <a:gd name="connsiteX9" fmla="*/ 7033356 w 7439501"/>
              <a:gd name="connsiteY9" fmla="*/ 262223 h 2893743"/>
              <a:gd name="connsiteX10" fmla="*/ 6979730 w 7439501"/>
              <a:gd name="connsiteY10" fmla="*/ 293656 h 2893743"/>
              <a:gd name="connsiteX11" fmla="*/ 6925723 w 7439501"/>
              <a:gd name="connsiteY11" fmla="*/ 324422 h 2893743"/>
              <a:gd name="connsiteX12" fmla="*/ 6898767 w 7439501"/>
              <a:gd name="connsiteY12" fmla="*/ 339852 h 2893743"/>
              <a:gd name="connsiteX13" fmla="*/ 6871240 w 7439501"/>
              <a:gd name="connsiteY13" fmla="*/ 354140 h 2893743"/>
              <a:gd name="connsiteX14" fmla="*/ 6815995 w 7439501"/>
              <a:gd name="connsiteY14" fmla="*/ 382429 h 2893743"/>
              <a:gd name="connsiteX15" fmla="*/ 6760274 w 7439501"/>
              <a:gd name="connsiteY15" fmla="*/ 409766 h 2893743"/>
              <a:gd name="connsiteX16" fmla="*/ 6703790 w 7439501"/>
              <a:gd name="connsiteY16" fmla="*/ 435293 h 2893743"/>
              <a:gd name="connsiteX17" fmla="*/ 6589109 w 7439501"/>
              <a:gd name="connsiteY17" fmla="*/ 482346 h 2893743"/>
              <a:gd name="connsiteX18" fmla="*/ 6560249 w 7439501"/>
              <a:gd name="connsiteY18" fmla="*/ 493490 h 2893743"/>
              <a:gd name="connsiteX19" fmla="*/ 6530817 w 7439501"/>
              <a:gd name="connsiteY19" fmla="*/ 503111 h 2893743"/>
              <a:gd name="connsiteX20" fmla="*/ 6472047 w 7439501"/>
              <a:gd name="connsiteY20" fmla="*/ 522446 h 2893743"/>
              <a:gd name="connsiteX21" fmla="*/ 6442329 w 7439501"/>
              <a:gd name="connsiteY21" fmla="*/ 530924 h 2893743"/>
              <a:gd name="connsiteX22" fmla="*/ 6412421 w 7439501"/>
              <a:gd name="connsiteY22" fmla="*/ 538829 h 2893743"/>
              <a:gd name="connsiteX23" fmla="*/ 6382512 w 7439501"/>
              <a:gd name="connsiteY23" fmla="*/ 546735 h 2893743"/>
              <a:gd name="connsiteX24" fmla="*/ 6367558 w 7439501"/>
              <a:gd name="connsiteY24" fmla="*/ 550640 h 2893743"/>
              <a:gd name="connsiteX25" fmla="*/ 6352413 w 7439501"/>
              <a:gd name="connsiteY25" fmla="*/ 553688 h 2893743"/>
              <a:gd name="connsiteX26" fmla="*/ 6291929 w 7439501"/>
              <a:gd name="connsiteY26" fmla="*/ 565595 h 2893743"/>
              <a:gd name="connsiteX27" fmla="*/ 6276785 w 7439501"/>
              <a:gd name="connsiteY27" fmla="*/ 568547 h 2893743"/>
              <a:gd name="connsiteX28" fmla="*/ 6261545 w 7439501"/>
              <a:gd name="connsiteY28" fmla="*/ 570548 h 2893743"/>
              <a:gd name="connsiteX29" fmla="*/ 6230970 w 7439501"/>
              <a:gd name="connsiteY29" fmla="*/ 574453 h 2893743"/>
              <a:gd name="connsiteX30" fmla="*/ 6108383 w 7439501"/>
              <a:gd name="connsiteY30" fmla="*/ 584264 h 2893743"/>
              <a:gd name="connsiteX31" fmla="*/ 6047232 w 7439501"/>
              <a:gd name="connsiteY31" fmla="*/ 583216 h 2893743"/>
              <a:gd name="connsiteX32" fmla="*/ 6031992 w 7439501"/>
              <a:gd name="connsiteY32" fmla="*/ 582930 h 2893743"/>
              <a:gd name="connsiteX33" fmla="*/ 6016752 w 7439501"/>
              <a:gd name="connsiteY33" fmla="*/ 581501 h 2893743"/>
              <a:gd name="connsiteX34" fmla="*/ 5986368 w 7439501"/>
              <a:gd name="connsiteY34" fmla="*/ 578644 h 2893743"/>
              <a:gd name="connsiteX35" fmla="*/ 5955983 w 7439501"/>
              <a:gd name="connsiteY35" fmla="*/ 575501 h 2893743"/>
              <a:gd name="connsiteX36" fmla="*/ 5925979 w 7439501"/>
              <a:gd name="connsiteY36" fmla="*/ 570357 h 2893743"/>
              <a:gd name="connsiteX37" fmla="*/ 5895975 w 7439501"/>
              <a:gd name="connsiteY37" fmla="*/ 565214 h 2893743"/>
              <a:gd name="connsiteX38" fmla="*/ 5866352 w 7439501"/>
              <a:gd name="connsiteY38" fmla="*/ 557975 h 2893743"/>
              <a:gd name="connsiteX39" fmla="*/ 5642324 w 7439501"/>
              <a:gd name="connsiteY39" fmla="*/ 465773 h 2893743"/>
              <a:gd name="connsiteX40" fmla="*/ 5456397 w 7439501"/>
              <a:gd name="connsiteY40" fmla="*/ 310229 h 2893743"/>
              <a:gd name="connsiteX41" fmla="*/ 5382483 w 7439501"/>
              <a:gd name="connsiteY41" fmla="*/ 213551 h 2893743"/>
              <a:gd name="connsiteX42" fmla="*/ 5324475 w 7439501"/>
              <a:gd name="connsiteY42" fmla="*/ 107061 h 2893743"/>
              <a:gd name="connsiteX43" fmla="*/ 5316474 w 7439501"/>
              <a:gd name="connsiteY43" fmla="*/ 88202 h 2893743"/>
              <a:gd name="connsiteX44" fmla="*/ 5305235 w 7439501"/>
              <a:gd name="connsiteY44" fmla="*/ 58484 h 2893743"/>
              <a:gd name="connsiteX45" fmla="*/ 5304854 w 7439501"/>
              <a:gd name="connsiteY45" fmla="*/ 58388 h 2893743"/>
              <a:gd name="connsiteX46" fmla="*/ 5289233 w 7439501"/>
              <a:gd name="connsiteY46" fmla="*/ 55626 h 2893743"/>
              <a:gd name="connsiteX47" fmla="*/ 5281994 w 7439501"/>
              <a:gd name="connsiteY47" fmla="*/ 54388 h 2893743"/>
              <a:gd name="connsiteX48" fmla="*/ 5277898 w 7439501"/>
              <a:gd name="connsiteY48" fmla="*/ 53816 h 2893743"/>
              <a:gd name="connsiteX49" fmla="*/ 5261420 w 7439501"/>
              <a:gd name="connsiteY49" fmla="*/ 51530 h 2893743"/>
              <a:gd name="connsiteX50" fmla="*/ 5228463 w 7439501"/>
              <a:gd name="connsiteY50" fmla="*/ 47625 h 2893743"/>
              <a:gd name="connsiteX51" fmla="*/ 5195507 w 7439501"/>
              <a:gd name="connsiteY51" fmla="*/ 44577 h 2893743"/>
              <a:gd name="connsiteX52" fmla="*/ 5162550 w 7439501"/>
              <a:gd name="connsiteY52" fmla="*/ 42196 h 2893743"/>
              <a:gd name="connsiteX53" fmla="*/ 5129594 w 7439501"/>
              <a:gd name="connsiteY53" fmla="*/ 40576 h 2893743"/>
              <a:gd name="connsiteX54" fmla="*/ 5096542 w 7439501"/>
              <a:gd name="connsiteY54" fmla="*/ 39529 h 2893743"/>
              <a:gd name="connsiteX55" fmla="*/ 5030534 w 7439501"/>
              <a:gd name="connsiteY55" fmla="*/ 38957 h 2893743"/>
              <a:gd name="connsiteX56" fmla="*/ 4975956 w 7439501"/>
              <a:gd name="connsiteY56" fmla="*/ 40386 h 2893743"/>
              <a:gd name="connsiteX57" fmla="*/ 4921377 w 7439501"/>
              <a:gd name="connsiteY57" fmla="*/ 43244 h 2893743"/>
              <a:gd name="connsiteX58" fmla="*/ 4866894 w 7439501"/>
              <a:gd name="connsiteY58" fmla="*/ 47625 h 2893743"/>
              <a:gd name="connsiteX59" fmla="*/ 4812602 w 7439501"/>
              <a:gd name="connsiteY59" fmla="*/ 53435 h 2893743"/>
              <a:gd name="connsiteX60" fmla="*/ 4704588 w 7439501"/>
              <a:gd name="connsiteY60" fmla="*/ 69723 h 2893743"/>
              <a:gd name="connsiteX61" fmla="*/ 4650962 w 7439501"/>
              <a:gd name="connsiteY61" fmla="*/ 80010 h 2893743"/>
              <a:gd name="connsiteX62" fmla="*/ 4597623 w 7439501"/>
              <a:gd name="connsiteY62" fmla="*/ 91726 h 2893743"/>
              <a:gd name="connsiteX63" fmla="*/ 4544568 w 7439501"/>
              <a:gd name="connsiteY63" fmla="*/ 104775 h 2893743"/>
              <a:gd name="connsiteX64" fmla="*/ 4491990 w 7439501"/>
              <a:gd name="connsiteY64" fmla="*/ 119634 h 2893743"/>
              <a:gd name="connsiteX65" fmla="*/ 4439889 w 7439501"/>
              <a:gd name="connsiteY65" fmla="*/ 135922 h 2893743"/>
              <a:gd name="connsiteX66" fmla="*/ 4388168 w 7439501"/>
              <a:gd name="connsiteY66" fmla="*/ 153448 h 2893743"/>
              <a:gd name="connsiteX67" fmla="*/ 4336923 w 7439501"/>
              <a:gd name="connsiteY67" fmla="*/ 172403 h 2893743"/>
              <a:gd name="connsiteX68" fmla="*/ 4286441 w 7439501"/>
              <a:gd name="connsiteY68" fmla="*/ 193167 h 2893743"/>
              <a:gd name="connsiteX69" fmla="*/ 4186904 w 7439501"/>
              <a:gd name="connsiteY69" fmla="*/ 238316 h 2893743"/>
              <a:gd name="connsiteX70" fmla="*/ 4138422 w 7439501"/>
              <a:gd name="connsiteY70" fmla="*/ 263462 h 2893743"/>
              <a:gd name="connsiteX71" fmla="*/ 4090416 w 7439501"/>
              <a:gd name="connsiteY71" fmla="*/ 289560 h 2893743"/>
              <a:gd name="connsiteX72" fmla="*/ 3997071 w 7439501"/>
              <a:gd name="connsiteY72" fmla="*/ 346329 h 2893743"/>
              <a:gd name="connsiteX73" fmla="*/ 3951351 w 7439501"/>
              <a:gd name="connsiteY73" fmla="*/ 376238 h 2893743"/>
              <a:gd name="connsiteX74" fmla="*/ 3907060 w 7439501"/>
              <a:gd name="connsiteY74" fmla="*/ 408146 h 2893743"/>
              <a:gd name="connsiteX75" fmla="*/ 3820573 w 7439501"/>
              <a:gd name="connsiteY75" fmla="*/ 474917 h 2893743"/>
              <a:gd name="connsiteX76" fmla="*/ 3514439 w 7439501"/>
              <a:gd name="connsiteY76" fmla="*/ 785336 h 2893743"/>
              <a:gd name="connsiteX77" fmla="*/ 3514439 w 7439501"/>
              <a:gd name="connsiteY77" fmla="*/ 785527 h 2893743"/>
              <a:gd name="connsiteX78" fmla="*/ 3399377 w 7439501"/>
              <a:gd name="connsiteY78" fmla="*/ 944690 h 2893743"/>
              <a:gd name="connsiteX79" fmla="*/ 3295460 w 7439501"/>
              <a:gd name="connsiteY79" fmla="*/ 1110329 h 2893743"/>
              <a:gd name="connsiteX80" fmla="*/ 3196685 w 7439501"/>
              <a:gd name="connsiteY80" fmla="*/ 1278446 h 2893743"/>
              <a:gd name="connsiteX81" fmla="*/ 3098578 w 7439501"/>
              <a:gd name="connsiteY81" fmla="*/ 1446467 h 2893743"/>
              <a:gd name="connsiteX82" fmla="*/ 2997803 w 7439501"/>
              <a:gd name="connsiteY82" fmla="*/ 1612487 h 2893743"/>
              <a:gd name="connsiteX83" fmla="*/ 2891600 w 7439501"/>
              <a:gd name="connsiteY83" fmla="*/ 1774698 h 2893743"/>
              <a:gd name="connsiteX84" fmla="*/ 2654999 w 7439501"/>
              <a:gd name="connsiteY84" fmla="*/ 2080736 h 2893743"/>
              <a:gd name="connsiteX85" fmla="*/ 2521839 w 7439501"/>
              <a:gd name="connsiteY85" fmla="*/ 2220659 h 2893743"/>
              <a:gd name="connsiteX86" fmla="*/ 2377631 w 7439501"/>
              <a:gd name="connsiteY86" fmla="*/ 2348960 h 2893743"/>
              <a:gd name="connsiteX87" fmla="*/ 2222754 w 7439501"/>
              <a:gd name="connsiteY87" fmla="*/ 2463927 h 2893743"/>
              <a:gd name="connsiteX88" fmla="*/ 2057876 w 7439501"/>
              <a:gd name="connsiteY88" fmla="*/ 2564035 h 2893743"/>
              <a:gd name="connsiteX89" fmla="*/ 1329404 w 7439501"/>
              <a:gd name="connsiteY89" fmla="*/ 2810542 h 2893743"/>
              <a:gd name="connsiteX90" fmla="*/ 685800 w 7439501"/>
              <a:gd name="connsiteY90" fmla="*/ 2854833 h 2893743"/>
              <a:gd name="connsiteX91" fmla="*/ 643128 w 7439501"/>
              <a:gd name="connsiteY91" fmla="*/ 2853404 h 2893743"/>
              <a:gd name="connsiteX92" fmla="*/ 589788 w 7439501"/>
              <a:gd name="connsiteY92" fmla="*/ 2851690 h 2893743"/>
              <a:gd name="connsiteX93" fmla="*/ 515207 w 7439501"/>
              <a:gd name="connsiteY93" fmla="*/ 2847689 h 2893743"/>
              <a:gd name="connsiteX94" fmla="*/ 5715 w 7439501"/>
              <a:gd name="connsiteY94" fmla="*/ 2791873 h 2893743"/>
              <a:gd name="connsiteX95" fmla="*/ 4286 w 7439501"/>
              <a:gd name="connsiteY95" fmla="*/ 2801302 h 2893743"/>
              <a:gd name="connsiteX96" fmla="*/ 2858 w 7439501"/>
              <a:gd name="connsiteY96" fmla="*/ 2810732 h 2893743"/>
              <a:gd name="connsiteX97" fmla="*/ 1429 w 7439501"/>
              <a:gd name="connsiteY97" fmla="*/ 2820162 h 2893743"/>
              <a:gd name="connsiteX98" fmla="*/ 0 w 7439501"/>
              <a:gd name="connsiteY98" fmla="*/ 2829592 h 2893743"/>
              <a:gd name="connsiteX99" fmla="*/ 513112 w 7439501"/>
              <a:gd name="connsiteY99" fmla="*/ 2885789 h 2893743"/>
              <a:gd name="connsiteX100" fmla="*/ 588359 w 7439501"/>
              <a:gd name="connsiteY100" fmla="*/ 2889885 h 2893743"/>
              <a:gd name="connsiteX101" fmla="*/ 642176 w 7439501"/>
              <a:gd name="connsiteY101" fmla="*/ 2891695 h 2893743"/>
              <a:gd name="connsiteX102" fmla="*/ 685229 w 7439501"/>
              <a:gd name="connsiteY102" fmla="*/ 2893124 h 2893743"/>
              <a:gd name="connsiteX103" fmla="*/ 1336072 w 7439501"/>
              <a:gd name="connsiteY103" fmla="*/ 2848356 h 2893743"/>
              <a:gd name="connsiteX104" fmla="*/ 2076355 w 7439501"/>
              <a:gd name="connsiteY104" fmla="*/ 2597753 h 2893743"/>
              <a:gd name="connsiteX105" fmla="*/ 2244185 w 7439501"/>
              <a:gd name="connsiteY105" fmla="*/ 2495836 h 2893743"/>
              <a:gd name="connsiteX106" fmla="*/ 2401919 w 7439501"/>
              <a:gd name="connsiteY106" fmla="*/ 2378869 h 2893743"/>
              <a:gd name="connsiteX107" fmla="*/ 2548604 w 7439501"/>
              <a:gd name="connsiteY107" fmla="*/ 2248376 h 2893743"/>
              <a:gd name="connsiteX108" fmla="*/ 2683859 w 7439501"/>
              <a:gd name="connsiteY108" fmla="*/ 2106359 h 2893743"/>
              <a:gd name="connsiteX109" fmla="*/ 2923318 w 7439501"/>
              <a:gd name="connsiteY109" fmla="*/ 1796606 h 2893743"/>
              <a:gd name="connsiteX110" fmla="*/ 3030379 w 7439501"/>
              <a:gd name="connsiteY110" fmla="*/ 1633061 h 2893743"/>
              <a:gd name="connsiteX111" fmla="*/ 3131630 w 7439501"/>
              <a:gd name="connsiteY111" fmla="*/ 1466183 h 2893743"/>
              <a:gd name="connsiteX112" fmla="*/ 3229928 w 7439501"/>
              <a:gd name="connsiteY112" fmla="*/ 1297972 h 2893743"/>
              <a:gd name="connsiteX113" fmla="*/ 3328416 w 7439501"/>
              <a:gd name="connsiteY113" fmla="*/ 1130332 h 2893743"/>
              <a:gd name="connsiteX114" fmla="*/ 3431381 w 7439501"/>
              <a:gd name="connsiteY114" fmla="*/ 966121 h 2893743"/>
              <a:gd name="connsiteX115" fmla="*/ 3544348 w 7439501"/>
              <a:gd name="connsiteY115" fmla="*/ 809720 h 2893743"/>
              <a:gd name="connsiteX116" fmla="*/ 3544348 w 7439501"/>
              <a:gd name="connsiteY116" fmla="*/ 809530 h 2893743"/>
              <a:gd name="connsiteX117" fmla="*/ 3844957 w 7439501"/>
              <a:gd name="connsiteY117" fmla="*/ 504730 h 2893743"/>
              <a:gd name="connsiteX118" fmla="*/ 3929729 w 7439501"/>
              <a:gd name="connsiteY118" fmla="*/ 439293 h 2893743"/>
              <a:gd name="connsiteX119" fmla="*/ 3973164 w 7439501"/>
              <a:gd name="connsiteY119" fmla="*/ 407956 h 2893743"/>
              <a:gd name="connsiteX120" fmla="*/ 4017931 w 7439501"/>
              <a:gd name="connsiteY120" fmla="*/ 378619 h 2893743"/>
              <a:gd name="connsiteX121" fmla="*/ 4109466 w 7439501"/>
              <a:gd name="connsiteY121" fmla="*/ 322993 h 2893743"/>
              <a:gd name="connsiteX122" fmla="*/ 4156520 w 7439501"/>
              <a:gd name="connsiteY122" fmla="*/ 297371 h 2893743"/>
              <a:gd name="connsiteX123" fmla="*/ 4204050 w 7439501"/>
              <a:gd name="connsiteY123" fmla="*/ 272701 h 2893743"/>
              <a:gd name="connsiteX124" fmla="*/ 4301585 w 7439501"/>
              <a:gd name="connsiteY124" fmla="*/ 228409 h 2893743"/>
              <a:gd name="connsiteX125" fmla="*/ 4351116 w 7439501"/>
              <a:gd name="connsiteY125" fmla="*/ 208026 h 2893743"/>
              <a:gd name="connsiteX126" fmla="*/ 4401312 w 7439501"/>
              <a:gd name="connsiteY126" fmla="*/ 189452 h 2893743"/>
              <a:gd name="connsiteX127" fmla="*/ 4451985 w 7439501"/>
              <a:gd name="connsiteY127" fmla="*/ 172307 h 2893743"/>
              <a:gd name="connsiteX128" fmla="*/ 4503134 w 7439501"/>
              <a:gd name="connsiteY128" fmla="*/ 156305 h 2893743"/>
              <a:gd name="connsiteX129" fmla="*/ 4554665 w 7439501"/>
              <a:gd name="connsiteY129" fmla="*/ 141732 h 2893743"/>
              <a:gd name="connsiteX130" fmla="*/ 4606671 w 7439501"/>
              <a:gd name="connsiteY130" fmla="*/ 128969 h 2893743"/>
              <a:gd name="connsiteX131" fmla="*/ 4658964 w 7439501"/>
              <a:gd name="connsiteY131" fmla="*/ 117539 h 2893743"/>
              <a:gd name="connsiteX132" fmla="*/ 4711542 w 7439501"/>
              <a:gd name="connsiteY132" fmla="*/ 107442 h 2893743"/>
              <a:gd name="connsiteX133" fmla="*/ 4817459 w 7439501"/>
              <a:gd name="connsiteY133" fmla="*/ 91440 h 2893743"/>
              <a:gd name="connsiteX134" fmla="*/ 4870704 w 7439501"/>
              <a:gd name="connsiteY134" fmla="*/ 85725 h 2893743"/>
              <a:gd name="connsiteX135" fmla="*/ 4924140 w 7439501"/>
              <a:gd name="connsiteY135" fmla="*/ 81439 h 2893743"/>
              <a:gd name="connsiteX136" fmla="*/ 4977670 w 7439501"/>
              <a:gd name="connsiteY136" fmla="*/ 78581 h 2893743"/>
              <a:gd name="connsiteX137" fmla="*/ 5031201 w 7439501"/>
              <a:gd name="connsiteY137" fmla="*/ 77153 h 2893743"/>
              <a:gd name="connsiteX138" fmla="*/ 5095875 w 7439501"/>
              <a:gd name="connsiteY138" fmla="*/ 77724 h 2893743"/>
              <a:gd name="connsiteX139" fmla="*/ 5128165 w 7439501"/>
              <a:gd name="connsiteY139" fmla="*/ 78772 h 2893743"/>
              <a:gd name="connsiteX140" fmla="*/ 5160455 w 7439501"/>
              <a:gd name="connsiteY140" fmla="*/ 80391 h 2893743"/>
              <a:gd name="connsiteX141" fmla="*/ 5192649 w 7439501"/>
              <a:gd name="connsiteY141" fmla="*/ 82677 h 2893743"/>
              <a:gd name="connsiteX142" fmla="*/ 5224749 w 7439501"/>
              <a:gd name="connsiteY142" fmla="*/ 85725 h 2893743"/>
              <a:gd name="connsiteX143" fmla="*/ 5256657 w 7439501"/>
              <a:gd name="connsiteY143" fmla="*/ 89535 h 2893743"/>
              <a:gd name="connsiteX144" fmla="*/ 5272469 w 7439501"/>
              <a:gd name="connsiteY144" fmla="*/ 91726 h 2893743"/>
              <a:gd name="connsiteX145" fmla="*/ 5277612 w 7439501"/>
              <a:gd name="connsiteY145" fmla="*/ 92488 h 2893743"/>
              <a:gd name="connsiteX146" fmla="*/ 5277612 w 7439501"/>
              <a:gd name="connsiteY146" fmla="*/ 92488 h 2893743"/>
              <a:gd name="connsiteX147" fmla="*/ 5281327 w 7439501"/>
              <a:gd name="connsiteY147" fmla="*/ 102394 h 2893743"/>
              <a:gd name="connsiteX148" fmla="*/ 5289804 w 7439501"/>
              <a:gd name="connsiteY148" fmla="*/ 122587 h 2893743"/>
              <a:gd name="connsiteX149" fmla="*/ 5350859 w 7439501"/>
              <a:gd name="connsiteY149" fmla="*/ 234601 h 2893743"/>
              <a:gd name="connsiteX150" fmla="*/ 5428107 w 7439501"/>
              <a:gd name="connsiteY150" fmla="*/ 335661 h 2893743"/>
              <a:gd name="connsiteX151" fmla="*/ 5622893 w 7439501"/>
              <a:gd name="connsiteY151" fmla="*/ 498539 h 2893743"/>
              <a:gd name="connsiteX152" fmla="*/ 5857590 w 7439501"/>
              <a:gd name="connsiteY152" fmla="*/ 595217 h 2893743"/>
              <a:gd name="connsiteX153" fmla="*/ 5888546 w 7439501"/>
              <a:gd name="connsiteY153" fmla="*/ 602742 h 2893743"/>
              <a:gd name="connsiteX154" fmla="*/ 5919883 w 7439501"/>
              <a:gd name="connsiteY154" fmla="*/ 608171 h 2893743"/>
              <a:gd name="connsiteX155" fmla="*/ 5951221 w 7439501"/>
              <a:gd name="connsiteY155" fmla="*/ 613505 h 2893743"/>
              <a:gd name="connsiteX156" fmla="*/ 5982843 w 7439501"/>
              <a:gd name="connsiteY156" fmla="*/ 616744 h 2893743"/>
              <a:gd name="connsiteX157" fmla="*/ 6014466 w 7439501"/>
              <a:gd name="connsiteY157" fmla="*/ 619697 h 2893743"/>
              <a:gd name="connsiteX158" fmla="*/ 6030278 w 7439501"/>
              <a:gd name="connsiteY158" fmla="*/ 621125 h 2893743"/>
              <a:gd name="connsiteX159" fmla="*/ 6046089 w 7439501"/>
              <a:gd name="connsiteY159" fmla="*/ 621411 h 2893743"/>
              <a:gd name="connsiteX160" fmla="*/ 6109526 w 7439501"/>
              <a:gd name="connsiteY160" fmla="*/ 622459 h 2893743"/>
              <a:gd name="connsiteX161" fmla="*/ 6236113 w 7439501"/>
              <a:gd name="connsiteY161" fmla="*/ 612362 h 2893743"/>
              <a:gd name="connsiteX162" fmla="*/ 6267545 w 7439501"/>
              <a:gd name="connsiteY162" fmla="*/ 608362 h 2893743"/>
              <a:gd name="connsiteX163" fmla="*/ 6283262 w 7439501"/>
              <a:gd name="connsiteY163" fmla="*/ 606266 h 2893743"/>
              <a:gd name="connsiteX164" fmla="*/ 6298788 w 7439501"/>
              <a:gd name="connsiteY164" fmla="*/ 603218 h 2893743"/>
              <a:gd name="connsiteX165" fmla="*/ 6360986 w 7439501"/>
              <a:gd name="connsiteY165" fmla="*/ 591026 h 2893743"/>
              <a:gd name="connsiteX166" fmla="*/ 6376511 w 7439501"/>
              <a:gd name="connsiteY166" fmla="*/ 587883 h 2893743"/>
              <a:gd name="connsiteX167" fmla="*/ 6391847 w 7439501"/>
              <a:gd name="connsiteY167" fmla="*/ 583883 h 2893743"/>
              <a:gd name="connsiteX168" fmla="*/ 6422422 w 7439501"/>
              <a:gd name="connsiteY168" fmla="*/ 575882 h 2893743"/>
              <a:gd name="connsiteX169" fmla="*/ 6452997 w 7439501"/>
              <a:gd name="connsiteY169" fmla="*/ 567785 h 2893743"/>
              <a:gd name="connsiteX170" fmla="*/ 6483382 w 7439501"/>
              <a:gd name="connsiteY170" fmla="*/ 559118 h 2893743"/>
              <a:gd name="connsiteX171" fmla="*/ 6543390 w 7439501"/>
              <a:gd name="connsiteY171" fmla="*/ 539401 h 2893743"/>
              <a:gd name="connsiteX172" fmla="*/ 6573393 w 7439501"/>
              <a:gd name="connsiteY172" fmla="*/ 529590 h 2893743"/>
              <a:gd name="connsiteX173" fmla="*/ 6602826 w 7439501"/>
              <a:gd name="connsiteY173" fmla="*/ 518255 h 2893743"/>
              <a:gd name="connsiteX174" fmla="*/ 6719507 w 7439501"/>
              <a:gd name="connsiteY174" fmla="*/ 470440 h 2893743"/>
              <a:gd name="connsiteX175" fmla="*/ 6776943 w 7439501"/>
              <a:gd name="connsiteY175" fmla="*/ 444437 h 2893743"/>
              <a:gd name="connsiteX176" fmla="*/ 6833426 w 7439501"/>
              <a:gd name="connsiteY176" fmla="*/ 416719 h 2893743"/>
              <a:gd name="connsiteX177" fmla="*/ 6889433 w 7439501"/>
              <a:gd name="connsiteY177" fmla="*/ 388049 h 2893743"/>
              <a:gd name="connsiteX178" fmla="*/ 6917341 w 7439501"/>
              <a:gd name="connsiteY178" fmla="*/ 373571 h 2893743"/>
              <a:gd name="connsiteX179" fmla="*/ 6944678 w 7439501"/>
              <a:gd name="connsiteY179" fmla="*/ 358045 h 2893743"/>
              <a:gd name="connsiteX180" fmla="*/ 6999256 w 7439501"/>
              <a:gd name="connsiteY180" fmla="*/ 326898 h 2893743"/>
              <a:gd name="connsiteX181" fmla="*/ 7053453 w 7439501"/>
              <a:gd name="connsiteY181" fmla="*/ 295085 h 2893743"/>
              <a:gd name="connsiteX182" fmla="*/ 7152704 w 7439501"/>
              <a:gd name="connsiteY182" fmla="*/ 232886 h 2893743"/>
              <a:gd name="connsiteX183" fmla="*/ 7207472 w 7439501"/>
              <a:gd name="connsiteY183" fmla="*/ 196310 h 2893743"/>
              <a:gd name="connsiteX184" fmla="*/ 7273957 w 7439501"/>
              <a:gd name="connsiteY184" fmla="*/ 150971 h 2893743"/>
              <a:gd name="connsiteX185" fmla="*/ 7351205 w 7439501"/>
              <a:gd name="connsiteY185" fmla="*/ 95631 h 2893743"/>
              <a:gd name="connsiteX186" fmla="*/ 7439502 w 7439501"/>
              <a:gd name="connsiteY186" fmla="*/ 30671 h 2893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7439501" h="2893743">
                <a:moveTo>
                  <a:pt x="7439120" y="30480"/>
                </a:moveTo>
                <a:lnTo>
                  <a:pt x="7433310" y="22860"/>
                </a:lnTo>
                <a:lnTo>
                  <a:pt x="7427500" y="15240"/>
                </a:lnTo>
                <a:lnTo>
                  <a:pt x="7421689" y="7620"/>
                </a:lnTo>
                <a:lnTo>
                  <a:pt x="7415879" y="0"/>
                </a:lnTo>
                <a:cubicBezTo>
                  <a:pt x="7384733" y="22955"/>
                  <a:pt x="7355491" y="44387"/>
                  <a:pt x="7328249" y="64484"/>
                </a:cubicBezTo>
                <a:cubicBezTo>
                  <a:pt x="7300913" y="84487"/>
                  <a:pt x="7275862" y="103537"/>
                  <a:pt x="7251668" y="119444"/>
                </a:cubicBezTo>
                <a:cubicBezTo>
                  <a:pt x="7227665" y="135731"/>
                  <a:pt x="7205758" y="150781"/>
                  <a:pt x="7185756" y="164402"/>
                </a:cubicBezTo>
                <a:cubicBezTo>
                  <a:pt x="7165658" y="177832"/>
                  <a:pt x="7148132" y="190691"/>
                  <a:pt x="7131558" y="200692"/>
                </a:cubicBezTo>
                <a:cubicBezTo>
                  <a:pt x="7066122" y="241745"/>
                  <a:pt x="7033356" y="262223"/>
                  <a:pt x="7033356" y="262223"/>
                </a:cubicBezTo>
                <a:cubicBezTo>
                  <a:pt x="7016020" y="273558"/>
                  <a:pt x="6997637" y="283274"/>
                  <a:pt x="6979730" y="293656"/>
                </a:cubicBezTo>
                <a:cubicBezTo>
                  <a:pt x="6961727" y="303943"/>
                  <a:pt x="6943725" y="314135"/>
                  <a:pt x="6925723" y="324422"/>
                </a:cubicBezTo>
                <a:lnTo>
                  <a:pt x="6898767" y="339852"/>
                </a:lnTo>
                <a:cubicBezTo>
                  <a:pt x="6889718" y="344805"/>
                  <a:pt x="6880384" y="349377"/>
                  <a:pt x="6871240" y="354140"/>
                </a:cubicBezTo>
                <a:cubicBezTo>
                  <a:pt x="6852857" y="363569"/>
                  <a:pt x="6834378" y="372999"/>
                  <a:pt x="6815995" y="382429"/>
                </a:cubicBezTo>
                <a:cubicBezTo>
                  <a:pt x="6797517" y="391763"/>
                  <a:pt x="6779324" y="401669"/>
                  <a:pt x="6760274" y="409766"/>
                </a:cubicBezTo>
                <a:lnTo>
                  <a:pt x="6703790" y="435293"/>
                </a:lnTo>
                <a:cubicBezTo>
                  <a:pt x="6666452" y="453295"/>
                  <a:pt x="6627496" y="466916"/>
                  <a:pt x="6589109" y="482346"/>
                </a:cubicBezTo>
                <a:cubicBezTo>
                  <a:pt x="6579489" y="486061"/>
                  <a:pt x="6569964" y="490061"/>
                  <a:pt x="6560249" y="493490"/>
                </a:cubicBezTo>
                <a:lnTo>
                  <a:pt x="6530817" y="503111"/>
                </a:lnTo>
                <a:lnTo>
                  <a:pt x="6472047" y="522446"/>
                </a:lnTo>
                <a:cubicBezTo>
                  <a:pt x="6462332" y="525971"/>
                  <a:pt x="6452235" y="528257"/>
                  <a:pt x="6442329" y="530924"/>
                </a:cubicBezTo>
                <a:lnTo>
                  <a:pt x="6412421" y="538829"/>
                </a:lnTo>
                <a:lnTo>
                  <a:pt x="6382512" y="546735"/>
                </a:lnTo>
                <a:lnTo>
                  <a:pt x="6367558" y="550640"/>
                </a:lnTo>
                <a:cubicBezTo>
                  <a:pt x="6362510" y="551783"/>
                  <a:pt x="6357461" y="552641"/>
                  <a:pt x="6352413" y="553688"/>
                </a:cubicBezTo>
                <a:lnTo>
                  <a:pt x="6291929" y="565595"/>
                </a:lnTo>
                <a:lnTo>
                  <a:pt x="6276785" y="568547"/>
                </a:lnTo>
                <a:cubicBezTo>
                  <a:pt x="6271736" y="569309"/>
                  <a:pt x="6266593" y="569881"/>
                  <a:pt x="6261545" y="570548"/>
                </a:cubicBezTo>
                <a:lnTo>
                  <a:pt x="6230970" y="574453"/>
                </a:lnTo>
                <a:cubicBezTo>
                  <a:pt x="6190298" y="580930"/>
                  <a:pt x="6149340" y="581692"/>
                  <a:pt x="6108383" y="584264"/>
                </a:cubicBezTo>
                <a:lnTo>
                  <a:pt x="6047232" y="583216"/>
                </a:lnTo>
                <a:lnTo>
                  <a:pt x="6031992" y="582930"/>
                </a:lnTo>
                <a:lnTo>
                  <a:pt x="6016752" y="581501"/>
                </a:lnTo>
                <a:lnTo>
                  <a:pt x="5986368" y="578644"/>
                </a:lnTo>
                <a:cubicBezTo>
                  <a:pt x="5976271" y="577596"/>
                  <a:pt x="5966079" y="577025"/>
                  <a:pt x="5955983" y="575501"/>
                </a:cubicBezTo>
                <a:lnTo>
                  <a:pt x="5925979" y="570357"/>
                </a:lnTo>
                <a:lnTo>
                  <a:pt x="5895975" y="565214"/>
                </a:lnTo>
                <a:cubicBezTo>
                  <a:pt x="5885974" y="563309"/>
                  <a:pt x="5876258" y="560356"/>
                  <a:pt x="5866352" y="557975"/>
                </a:cubicBezTo>
                <a:cubicBezTo>
                  <a:pt x="5787486" y="538829"/>
                  <a:pt x="5711571" y="507778"/>
                  <a:pt x="5642324" y="465773"/>
                </a:cubicBezTo>
                <a:cubicBezTo>
                  <a:pt x="5573078" y="423672"/>
                  <a:pt x="5510022" y="371285"/>
                  <a:pt x="5456397" y="310229"/>
                </a:cubicBezTo>
                <a:cubicBezTo>
                  <a:pt x="5429536" y="279749"/>
                  <a:pt x="5404961" y="247364"/>
                  <a:pt x="5382483" y="213551"/>
                </a:cubicBezTo>
                <a:cubicBezTo>
                  <a:pt x="5360575" y="179451"/>
                  <a:pt x="5340668" y="143923"/>
                  <a:pt x="5324475" y="107061"/>
                </a:cubicBezTo>
                <a:cubicBezTo>
                  <a:pt x="5321808" y="100775"/>
                  <a:pt x="5318760" y="94583"/>
                  <a:pt x="5316474" y="88202"/>
                </a:cubicBezTo>
                <a:lnTo>
                  <a:pt x="5305235" y="58484"/>
                </a:lnTo>
                <a:cubicBezTo>
                  <a:pt x="5305235" y="58484"/>
                  <a:pt x="5305044" y="58484"/>
                  <a:pt x="5304854" y="58388"/>
                </a:cubicBezTo>
                <a:lnTo>
                  <a:pt x="5289233" y="55626"/>
                </a:lnTo>
                <a:lnTo>
                  <a:pt x="5281994" y="54388"/>
                </a:lnTo>
                <a:lnTo>
                  <a:pt x="5277898" y="53816"/>
                </a:lnTo>
                <a:lnTo>
                  <a:pt x="5261420" y="51530"/>
                </a:lnTo>
                <a:cubicBezTo>
                  <a:pt x="5250466" y="50006"/>
                  <a:pt x="5239417" y="48863"/>
                  <a:pt x="5228463" y="47625"/>
                </a:cubicBezTo>
                <a:cubicBezTo>
                  <a:pt x="5217509" y="46387"/>
                  <a:pt x="5206461" y="45530"/>
                  <a:pt x="5195507" y="44577"/>
                </a:cubicBezTo>
                <a:lnTo>
                  <a:pt x="5162550" y="42196"/>
                </a:lnTo>
                <a:lnTo>
                  <a:pt x="5129594" y="40576"/>
                </a:lnTo>
                <a:cubicBezTo>
                  <a:pt x="5118640" y="39910"/>
                  <a:pt x="5107591" y="39910"/>
                  <a:pt x="5096542" y="39529"/>
                </a:cubicBezTo>
                <a:cubicBezTo>
                  <a:pt x="5074539" y="38767"/>
                  <a:pt x="5052536" y="39148"/>
                  <a:pt x="5030534" y="38957"/>
                </a:cubicBezTo>
                <a:lnTo>
                  <a:pt x="4975956" y="40386"/>
                </a:lnTo>
                <a:cubicBezTo>
                  <a:pt x="4957763" y="41339"/>
                  <a:pt x="4939570" y="42101"/>
                  <a:pt x="4921377" y="43244"/>
                </a:cubicBezTo>
                <a:lnTo>
                  <a:pt x="4866894" y="47625"/>
                </a:lnTo>
                <a:lnTo>
                  <a:pt x="4812602" y="53435"/>
                </a:lnTo>
                <a:cubicBezTo>
                  <a:pt x="4776502" y="58198"/>
                  <a:pt x="4740402" y="63151"/>
                  <a:pt x="4704588" y="69723"/>
                </a:cubicBezTo>
                <a:cubicBezTo>
                  <a:pt x="4686586" y="72581"/>
                  <a:pt x="4668774" y="76295"/>
                  <a:pt x="4650962" y="80010"/>
                </a:cubicBezTo>
                <a:cubicBezTo>
                  <a:pt x="4633151" y="83725"/>
                  <a:pt x="4615244" y="87154"/>
                  <a:pt x="4597623" y="91726"/>
                </a:cubicBezTo>
                <a:lnTo>
                  <a:pt x="4544568" y="104775"/>
                </a:lnTo>
                <a:lnTo>
                  <a:pt x="4491990" y="119634"/>
                </a:lnTo>
                <a:cubicBezTo>
                  <a:pt x="4474369" y="124301"/>
                  <a:pt x="4457224" y="130397"/>
                  <a:pt x="4439889" y="135922"/>
                </a:cubicBezTo>
                <a:cubicBezTo>
                  <a:pt x="4422648" y="141732"/>
                  <a:pt x="4405122" y="146780"/>
                  <a:pt x="4388168" y="153448"/>
                </a:cubicBezTo>
                <a:cubicBezTo>
                  <a:pt x="4371118" y="159734"/>
                  <a:pt x="4353973" y="166116"/>
                  <a:pt x="4336923" y="172403"/>
                </a:cubicBezTo>
                <a:cubicBezTo>
                  <a:pt x="4319874" y="178880"/>
                  <a:pt x="4303300" y="186309"/>
                  <a:pt x="4286441" y="193167"/>
                </a:cubicBezTo>
                <a:cubicBezTo>
                  <a:pt x="4252532" y="206597"/>
                  <a:pt x="4220051" y="223171"/>
                  <a:pt x="4186904" y="238316"/>
                </a:cubicBezTo>
                <a:cubicBezTo>
                  <a:pt x="4170522" y="246221"/>
                  <a:pt x="4154615" y="255080"/>
                  <a:pt x="4138422" y="263462"/>
                </a:cubicBezTo>
                <a:cubicBezTo>
                  <a:pt x="4122325" y="272034"/>
                  <a:pt x="4105942" y="280035"/>
                  <a:pt x="4090416" y="289560"/>
                </a:cubicBezTo>
                <a:cubicBezTo>
                  <a:pt x="4058984" y="308039"/>
                  <a:pt x="4027170" y="325850"/>
                  <a:pt x="3997071" y="346329"/>
                </a:cubicBezTo>
                <a:cubicBezTo>
                  <a:pt x="3981831" y="356330"/>
                  <a:pt x="3966401" y="366046"/>
                  <a:pt x="3951351" y="376238"/>
                </a:cubicBezTo>
                <a:cubicBezTo>
                  <a:pt x="3936587" y="386906"/>
                  <a:pt x="3921824" y="397478"/>
                  <a:pt x="3907060" y="408146"/>
                </a:cubicBezTo>
                <a:cubicBezTo>
                  <a:pt x="3877056" y="428816"/>
                  <a:pt x="3849243" y="452438"/>
                  <a:pt x="3820573" y="474917"/>
                </a:cubicBezTo>
                <a:cubicBezTo>
                  <a:pt x="3707702" y="567023"/>
                  <a:pt x="3605308" y="671703"/>
                  <a:pt x="3514439" y="785336"/>
                </a:cubicBezTo>
                <a:lnTo>
                  <a:pt x="3514439" y="785527"/>
                </a:lnTo>
                <a:cubicBezTo>
                  <a:pt x="3473291" y="836866"/>
                  <a:pt x="3435477" y="890302"/>
                  <a:pt x="3399377" y="944690"/>
                </a:cubicBezTo>
                <a:cubicBezTo>
                  <a:pt x="3363278" y="999173"/>
                  <a:pt x="3328988" y="1054608"/>
                  <a:pt x="3295460" y="1110329"/>
                </a:cubicBezTo>
                <a:cubicBezTo>
                  <a:pt x="3261932" y="1166146"/>
                  <a:pt x="3229261" y="1222248"/>
                  <a:pt x="3196685" y="1278446"/>
                </a:cubicBezTo>
                <a:cubicBezTo>
                  <a:pt x="3164015" y="1334453"/>
                  <a:pt x="3131249" y="1390460"/>
                  <a:pt x="3098578" y="1446467"/>
                </a:cubicBezTo>
                <a:cubicBezTo>
                  <a:pt x="3065526" y="1502188"/>
                  <a:pt x="3032189" y="1557719"/>
                  <a:pt x="2997803" y="1612487"/>
                </a:cubicBezTo>
                <a:cubicBezTo>
                  <a:pt x="2963418" y="1667256"/>
                  <a:pt x="2928080" y="1721453"/>
                  <a:pt x="2891600" y="1774698"/>
                </a:cubicBezTo>
                <a:cubicBezTo>
                  <a:pt x="2818733" y="1881378"/>
                  <a:pt x="2740247" y="1984058"/>
                  <a:pt x="2654999" y="2080736"/>
                </a:cubicBezTo>
                <a:cubicBezTo>
                  <a:pt x="2612231" y="2128933"/>
                  <a:pt x="2567845" y="2175701"/>
                  <a:pt x="2521839" y="2220659"/>
                </a:cubicBezTo>
                <a:cubicBezTo>
                  <a:pt x="2475452" y="2265331"/>
                  <a:pt x="2427351" y="2308098"/>
                  <a:pt x="2377631" y="2348960"/>
                </a:cubicBezTo>
                <a:cubicBezTo>
                  <a:pt x="2327720" y="2389537"/>
                  <a:pt x="2275808" y="2427637"/>
                  <a:pt x="2222754" y="2463927"/>
                </a:cubicBezTo>
                <a:cubicBezTo>
                  <a:pt x="2169224" y="2499646"/>
                  <a:pt x="2114264" y="2532983"/>
                  <a:pt x="2057876" y="2564035"/>
                </a:cubicBezTo>
                <a:cubicBezTo>
                  <a:pt x="1831848" y="2687288"/>
                  <a:pt x="1583436" y="2767108"/>
                  <a:pt x="1329404" y="2810542"/>
                </a:cubicBezTo>
                <a:cubicBezTo>
                  <a:pt x="1117283" y="2847308"/>
                  <a:pt x="901160" y="2858357"/>
                  <a:pt x="685800" y="2854833"/>
                </a:cubicBezTo>
                <a:lnTo>
                  <a:pt x="643128" y="2853404"/>
                </a:lnTo>
                <a:lnTo>
                  <a:pt x="589788" y="2851690"/>
                </a:lnTo>
                <a:cubicBezTo>
                  <a:pt x="568452" y="2850928"/>
                  <a:pt x="543592" y="2849213"/>
                  <a:pt x="515207" y="2847689"/>
                </a:cubicBezTo>
                <a:cubicBezTo>
                  <a:pt x="401574" y="2840927"/>
                  <a:pt x="231077" y="2826544"/>
                  <a:pt x="5715" y="2791873"/>
                </a:cubicBezTo>
                <a:lnTo>
                  <a:pt x="4286" y="2801302"/>
                </a:lnTo>
                <a:lnTo>
                  <a:pt x="2858" y="2810732"/>
                </a:lnTo>
                <a:lnTo>
                  <a:pt x="1429" y="2820162"/>
                </a:lnTo>
                <a:lnTo>
                  <a:pt x="0" y="2829592"/>
                </a:lnTo>
                <a:cubicBezTo>
                  <a:pt x="226790" y="2864549"/>
                  <a:pt x="398621" y="2879027"/>
                  <a:pt x="513112" y="2885789"/>
                </a:cubicBezTo>
                <a:cubicBezTo>
                  <a:pt x="541782" y="2887313"/>
                  <a:pt x="566833" y="2889123"/>
                  <a:pt x="588359" y="2889885"/>
                </a:cubicBezTo>
                <a:lnTo>
                  <a:pt x="642176" y="2891695"/>
                </a:lnTo>
                <a:lnTo>
                  <a:pt x="685229" y="2893124"/>
                </a:lnTo>
                <a:cubicBezTo>
                  <a:pt x="902684" y="2896648"/>
                  <a:pt x="1121093" y="2885599"/>
                  <a:pt x="1336072" y="2848356"/>
                </a:cubicBezTo>
                <a:cubicBezTo>
                  <a:pt x="1593533" y="2804446"/>
                  <a:pt x="1846136" y="2723293"/>
                  <a:pt x="2076355" y="2597753"/>
                </a:cubicBezTo>
                <a:cubicBezTo>
                  <a:pt x="2133695" y="2566131"/>
                  <a:pt x="2189798" y="2532126"/>
                  <a:pt x="2244185" y="2495836"/>
                </a:cubicBezTo>
                <a:cubicBezTo>
                  <a:pt x="2298287" y="2458974"/>
                  <a:pt x="2351056" y="2420112"/>
                  <a:pt x="2401919" y="2378869"/>
                </a:cubicBezTo>
                <a:cubicBezTo>
                  <a:pt x="2452497" y="2337340"/>
                  <a:pt x="2501456" y="2293811"/>
                  <a:pt x="2548604" y="2248376"/>
                </a:cubicBezTo>
                <a:cubicBezTo>
                  <a:pt x="2595467" y="2202656"/>
                  <a:pt x="2640521" y="2155222"/>
                  <a:pt x="2683859" y="2106359"/>
                </a:cubicBezTo>
                <a:cubicBezTo>
                  <a:pt x="2770251" y="2008251"/>
                  <a:pt x="2849690" y="1904238"/>
                  <a:pt x="2923318" y="1796606"/>
                </a:cubicBezTo>
                <a:cubicBezTo>
                  <a:pt x="2960180" y="1742789"/>
                  <a:pt x="2995803" y="1688211"/>
                  <a:pt x="3030379" y="1633061"/>
                </a:cubicBezTo>
                <a:cubicBezTo>
                  <a:pt x="3064955" y="1577912"/>
                  <a:pt x="3098578" y="1522190"/>
                  <a:pt x="3131630" y="1466183"/>
                </a:cubicBezTo>
                <a:cubicBezTo>
                  <a:pt x="3164396" y="1410081"/>
                  <a:pt x="3197162" y="1353979"/>
                  <a:pt x="3229928" y="1297972"/>
                </a:cubicBezTo>
                <a:cubicBezTo>
                  <a:pt x="3262503" y="1241870"/>
                  <a:pt x="3295174" y="1185863"/>
                  <a:pt x="3328416" y="1130332"/>
                </a:cubicBezTo>
                <a:cubicBezTo>
                  <a:pt x="3361754" y="1074896"/>
                  <a:pt x="3395758" y="1019842"/>
                  <a:pt x="3431381" y="966121"/>
                </a:cubicBezTo>
                <a:cubicBezTo>
                  <a:pt x="3467005" y="912400"/>
                  <a:pt x="3504248" y="859822"/>
                  <a:pt x="3544348" y="809720"/>
                </a:cubicBezTo>
                <a:lnTo>
                  <a:pt x="3544348" y="809530"/>
                </a:lnTo>
                <a:cubicBezTo>
                  <a:pt x="3633788" y="697802"/>
                  <a:pt x="3734372" y="595122"/>
                  <a:pt x="3844957" y="504730"/>
                </a:cubicBezTo>
                <a:cubicBezTo>
                  <a:pt x="3873056" y="482727"/>
                  <a:pt x="3900297" y="459486"/>
                  <a:pt x="3929729" y="439293"/>
                </a:cubicBezTo>
                <a:cubicBezTo>
                  <a:pt x="3944207" y="428816"/>
                  <a:pt x="3958685" y="418433"/>
                  <a:pt x="3973164" y="407956"/>
                </a:cubicBezTo>
                <a:cubicBezTo>
                  <a:pt x="3987927" y="397954"/>
                  <a:pt x="4003072" y="388429"/>
                  <a:pt x="4017931" y="378619"/>
                </a:cubicBezTo>
                <a:cubicBezTo>
                  <a:pt x="4047458" y="358521"/>
                  <a:pt x="4078700" y="341090"/>
                  <a:pt x="4109466" y="322993"/>
                </a:cubicBezTo>
                <a:cubicBezTo>
                  <a:pt x="4124706" y="313658"/>
                  <a:pt x="4140708" y="305848"/>
                  <a:pt x="4156520" y="297371"/>
                </a:cubicBezTo>
                <a:cubicBezTo>
                  <a:pt x="4172331" y="289179"/>
                  <a:pt x="4187952" y="280511"/>
                  <a:pt x="4204050" y="272701"/>
                </a:cubicBezTo>
                <a:cubicBezTo>
                  <a:pt x="4236530" y="257842"/>
                  <a:pt x="4268343" y="241554"/>
                  <a:pt x="4301585" y="228409"/>
                </a:cubicBezTo>
                <a:cubicBezTo>
                  <a:pt x="4318064" y="221647"/>
                  <a:pt x="4334447" y="214408"/>
                  <a:pt x="4351116" y="208026"/>
                </a:cubicBezTo>
                <a:cubicBezTo>
                  <a:pt x="4367879" y="201835"/>
                  <a:pt x="4384643" y="195644"/>
                  <a:pt x="4401312" y="189452"/>
                </a:cubicBezTo>
                <a:cubicBezTo>
                  <a:pt x="4417981" y="182975"/>
                  <a:pt x="4435126" y="177927"/>
                  <a:pt x="4451985" y="172307"/>
                </a:cubicBezTo>
                <a:cubicBezTo>
                  <a:pt x="4469035" y="166878"/>
                  <a:pt x="4485799" y="160877"/>
                  <a:pt x="4503134" y="156305"/>
                </a:cubicBezTo>
                <a:lnTo>
                  <a:pt x="4554665" y="141732"/>
                </a:lnTo>
                <a:lnTo>
                  <a:pt x="4606671" y="128969"/>
                </a:lnTo>
                <a:cubicBezTo>
                  <a:pt x="4623911" y="124492"/>
                  <a:pt x="4641533" y="121158"/>
                  <a:pt x="4658964" y="117539"/>
                </a:cubicBezTo>
                <a:cubicBezTo>
                  <a:pt x="4676394" y="113824"/>
                  <a:pt x="4693920" y="110204"/>
                  <a:pt x="4711542" y="107442"/>
                </a:cubicBezTo>
                <a:cubicBezTo>
                  <a:pt x="4746689" y="100965"/>
                  <a:pt x="4782026" y="96107"/>
                  <a:pt x="4817459" y="91440"/>
                </a:cubicBezTo>
                <a:lnTo>
                  <a:pt x="4870704" y="85725"/>
                </a:lnTo>
                <a:lnTo>
                  <a:pt x="4924140" y="81439"/>
                </a:lnTo>
                <a:cubicBezTo>
                  <a:pt x="4941951" y="80296"/>
                  <a:pt x="4959763" y="79534"/>
                  <a:pt x="4977670" y="78581"/>
                </a:cubicBezTo>
                <a:lnTo>
                  <a:pt x="5031201" y="77153"/>
                </a:lnTo>
                <a:cubicBezTo>
                  <a:pt x="5052727" y="77248"/>
                  <a:pt x="5074349" y="76867"/>
                  <a:pt x="5095875" y="77724"/>
                </a:cubicBezTo>
                <a:cubicBezTo>
                  <a:pt x="5106638" y="78010"/>
                  <a:pt x="5117402" y="78105"/>
                  <a:pt x="5128165" y="78772"/>
                </a:cubicBezTo>
                <a:lnTo>
                  <a:pt x="5160455" y="80391"/>
                </a:lnTo>
                <a:lnTo>
                  <a:pt x="5192649" y="82677"/>
                </a:lnTo>
                <a:cubicBezTo>
                  <a:pt x="5203317" y="83725"/>
                  <a:pt x="5214081" y="84487"/>
                  <a:pt x="5224749" y="85725"/>
                </a:cubicBezTo>
                <a:cubicBezTo>
                  <a:pt x="5235417" y="86868"/>
                  <a:pt x="5246084" y="88011"/>
                  <a:pt x="5256657" y="89535"/>
                </a:cubicBezTo>
                <a:lnTo>
                  <a:pt x="5272469" y="91726"/>
                </a:lnTo>
                <a:lnTo>
                  <a:pt x="5277612" y="92488"/>
                </a:lnTo>
                <a:lnTo>
                  <a:pt x="5277612" y="92488"/>
                </a:lnTo>
                <a:cubicBezTo>
                  <a:pt x="5278851" y="95726"/>
                  <a:pt x="5280089" y="99060"/>
                  <a:pt x="5281327" y="102394"/>
                </a:cubicBezTo>
                <a:cubicBezTo>
                  <a:pt x="5283804" y="109347"/>
                  <a:pt x="5287042" y="115824"/>
                  <a:pt x="5289804" y="122587"/>
                </a:cubicBezTo>
                <a:cubicBezTo>
                  <a:pt x="5307045" y="161734"/>
                  <a:pt x="5327904" y="198882"/>
                  <a:pt x="5350859" y="234601"/>
                </a:cubicBezTo>
                <a:cubicBezTo>
                  <a:pt x="5374387" y="269939"/>
                  <a:pt x="5400008" y="303848"/>
                  <a:pt x="5428107" y="335661"/>
                </a:cubicBezTo>
                <a:cubicBezTo>
                  <a:pt x="5484209" y="399383"/>
                  <a:pt x="5550313" y="454343"/>
                  <a:pt x="5622893" y="498539"/>
                </a:cubicBezTo>
                <a:cubicBezTo>
                  <a:pt x="5695569" y="542639"/>
                  <a:pt x="5775198" y="575120"/>
                  <a:pt x="5857590" y="595217"/>
                </a:cubicBezTo>
                <a:cubicBezTo>
                  <a:pt x="5867877" y="597694"/>
                  <a:pt x="5878068" y="600742"/>
                  <a:pt x="5888546" y="602742"/>
                </a:cubicBezTo>
                <a:lnTo>
                  <a:pt x="5919883" y="608171"/>
                </a:lnTo>
                <a:lnTo>
                  <a:pt x="5951221" y="613505"/>
                </a:lnTo>
                <a:cubicBezTo>
                  <a:pt x="5961698" y="615125"/>
                  <a:pt x="5972270" y="615696"/>
                  <a:pt x="5982843" y="616744"/>
                </a:cubicBezTo>
                <a:lnTo>
                  <a:pt x="6014466" y="619697"/>
                </a:lnTo>
                <a:lnTo>
                  <a:pt x="6030278" y="621125"/>
                </a:lnTo>
                <a:lnTo>
                  <a:pt x="6046089" y="621411"/>
                </a:lnTo>
                <a:lnTo>
                  <a:pt x="6109526" y="622459"/>
                </a:lnTo>
                <a:cubicBezTo>
                  <a:pt x="6151817" y="619792"/>
                  <a:pt x="6194298" y="618935"/>
                  <a:pt x="6236113" y="612362"/>
                </a:cubicBezTo>
                <a:lnTo>
                  <a:pt x="6267545" y="608362"/>
                </a:lnTo>
                <a:cubicBezTo>
                  <a:pt x="6272784" y="607695"/>
                  <a:pt x="6278023" y="607124"/>
                  <a:pt x="6283262" y="606266"/>
                </a:cubicBezTo>
                <a:lnTo>
                  <a:pt x="6298788" y="603218"/>
                </a:lnTo>
                <a:lnTo>
                  <a:pt x="6360986" y="591026"/>
                </a:lnTo>
                <a:cubicBezTo>
                  <a:pt x="6366129" y="589979"/>
                  <a:pt x="6371368" y="589026"/>
                  <a:pt x="6376511" y="587883"/>
                </a:cubicBezTo>
                <a:lnTo>
                  <a:pt x="6391847" y="583883"/>
                </a:lnTo>
                <a:lnTo>
                  <a:pt x="6422422" y="575882"/>
                </a:lnTo>
                <a:lnTo>
                  <a:pt x="6452997" y="567785"/>
                </a:lnTo>
                <a:cubicBezTo>
                  <a:pt x="6463189" y="565023"/>
                  <a:pt x="6473476" y="562642"/>
                  <a:pt x="6483382" y="559118"/>
                </a:cubicBezTo>
                <a:cubicBezTo>
                  <a:pt x="6503384" y="552545"/>
                  <a:pt x="6523387" y="545973"/>
                  <a:pt x="6543390" y="539401"/>
                </a:cubicBezTo>
                <a:lnTo>
                  <a:pt x="6573393" y="529590"/>
                </a:lnTo>
                <a:cubicBezTo>
                  <a:pt x="6583299" y="526066"/>
                  <a:pt x="6593014" y="521970"/>
                  <a:pt x="6602826" y="518255"/>
                </a:cubicBezTo>
                <a:cubicBezTo>
                  <a:pt x="6641878" y="502634"/>
                  <a:pt x="6681597" y="488633"/>
                  <a:pt x="6719507" y="470440"/>
                </a:cubicBezTo>
                <a:cubicBezTo>
                  <a:pt x="6738652" y="461772"/>
                  <a:pt x="6757797" y="453104"/>
                  <a:pt x="6776943" y="444437"/>
                </a:cubicBezTo>
                <a:cubicBezTo>
                  <a:pt x="6796278" y="436150"/>
                  <a:pt x="6814757" y="426149"/>
                  <a:pt x="6833426" y="416719"/>
                </a:cubicBezTo>
                <a:cubicBezTo>
                  <a:pt x="6852095" y="407194"/>
                  <a:pt x="6870764" y="397574"/>
                  <a:pt x="6889433" y="388049"/>
                </a:cubicBezTo>
                <a:cubicBezTo>
                  <a:pt x="6898767" y="383191"/>
                  <a:pt x="6908197" y="378619"/>
                  <a:pt x="6917341" y="373571"/>
                </a:cubicBezTo>
                <a:lnTo>
                  <a:pt x="6944678" y="358045"/>
                </a:lnTo>
                <a:lnTo>
                  <a:pt x="6999256" y="326898"/>
                </a:lnTo>
                <a:cubicBezTo>
                  <a:pt x="7017354" y="316325"/>
                  <a:pt x="7035927" y="306515"/>
                  <a:pt x="7053453" y="295085"/>
                </a:cubicBezTo>
                <a:cubicBezTo>
                  <a:pt x="7053453" y="295085"/>
                  <a:pt x="7086505" y="274320"/>
                  <a:pt x="7152704" y="232886"/>
                </a:cubicBezTo>
                <a:cubicBezTo>
                  <a:pt x="7169468" y="222885"/>
                  <a:pt x="7187184" y="209836"/>
                  <a:pt x="7207472" y="196310"/>
                </a:cubicBezTo>
                <a:cubicBezTo>
                  <a:pt x="7227571" y="182594"/>
                  <a:pt x="7249763" y="167450"/>
                  <a:pt x="7273957" y="150971"/>
                </a:cubicBezTo>
                <a:cubicBezTo>
                  <a:pt x="7298437" y="134874"/>
                  <a:pt x="7323677" y="115729"/>
                  <a:pt x="7351205" y="95631"/>
                </a:cubicBezTo>
                <a:cubicBezTo>
                  <a:pt x="7378637" y="75438"/>
                  <a:pt x="7408164" y="53816"/>
                  <a:pt x="7439502" y="30671"/>
                </a:cubicBezTo>
                <a:close/>
              </a:path>
            </a:pathLst>
          </a:custGeom>
          <a:gradFill>
            <a:gsLst>
              <a:gs pos="93000">
                <a:schemeClr val="accent2">
                  <a:alpha val="0"/>
                </a:schemeClr>
              </a:gs>
              <a:gs pos="17000">
                <a:schemeClr val="accent2">
                  <a:alpha val="0"/>
                </a:schemeClr>
              </a:gs>
              <a:gs pos="72000">
                <a:schemeClr val="accent2"/>
              </a:gs>
              <a:gs pos="38000">
                <a:schemeClr val="accent2"/>
              </a:gs>
            </a:gsLst>
            <a:lin ang="0" scaled="1"/>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328331773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2_Large Title &amp; Large Image">
    <p:bg>
      <p:bgPr>
        <a:solidFill>
          <a:schemeClr val="bg1"/>
        </a:solidFill>
        <a:effectLst/>
      </p:bgPr>
    </p:bg>
    <p:spTree>
      <p:nvGrpSpPr>
        <p:cNvPr id="1" name=""/>
        <p:cNvGrpSpPr/>
        <p:nvPr/>
      </p:nvGrpSpPr>
      <p:grpSpPr>
        <a:xfrm>
          <a:off x="0" y="0"/>
          <a:ext cx="0" cy="0"/>
          <a:chOff x="0" y="0"/>
          <a:chExt cx="0" cy="0"/>
        </a:xfrm>
      </p:grpSpPr>
      <p:sp>
        <p:nvSpPr>
          <p:cNvPr id="3" name="Picture Placeholder 18">
            <a:extLst>
              <a:ext uri="{FF2B5EF4-FFF2-40B4-BE49-F238E27FC236}">
                <a16:creationId xmlns:a16="http://schemas.microsoft.com/office/drawing/2014/main" id="{D3B1FE99-E8D3-C5FE-4E44-4E4EF67B45DA}"/>
              </a:ext>
            </a:extLst>
          </p:cNvPr>
          <p:cNvSpPr>
            <a:spLocks noGrp="1"/>
          </p:cNvSpPr>
          <p:nvPr>
            <p:ph type="pic" sz="quarter" idx="10" hasCustomPrompt="1"/>
          </p:nvPr>
        </p:nvSpPr>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692696"/>
            <a:ext cx="4751907" cy="1800200"/>
          </a:xfrm>
        </p:spPr>
        <p:txBody>
          <a:bodyPr vert="horz" lIns="0" tIns="0" rIns="0" bIns="0" rtlCol="0" anchor="b">
            <a:noAutofit/>
          </a:bodyPr>
          <a:lstStyle>
            <a:lvl1pPr>
              <a:lnSpc>
                <a:spcPct val="80000"/>
              </a:lnSpc>
              <a:defRPr lang="en-GB" sz="3600" baseline="0">
                <a:solidFill>
                  <a:schemeClr val="tx1"/>
                </a:solidFill>
              </a:defRPr>
            </a:lvl1pPr>
          </a:lstStyle>
          <a:p>
            <a:pPr lvl="0"/>
            <a:r>
              <a:rPr lang="en-US" noProof="0"/>
              <a:t>Insert page title (sentence case) </a:t>
            </a:r>
          </a:p>
        </p:txBody>
      </p:sp>
      <p:sp>
        <p:nvSpPr>
          <p:cNvPr id="10" name="Text Placeholder 9">
            <a:extLst>
              <a:ext uri="{FF2B5EF4-FFF2-40B4-BE49-F238E27FC236}">
                <a16:creationId xmlns:a16="http://schemas.microsoft.com/office/drawing/2014/main" id="{FC6DF15B-7249-491B-BFB7-9A33784178CD}"/>
              </a:ext>
            </a:extLst>
          </p:cNvPr>
          <p:cNvSpPr>
            <a:spLocks noGrp="1"/>
          </p:cNvSpPr>
          <p:nvPr>
            <p:ph type="body" sz="quarter" idx="12" hasCustomPrompt="1"/>
          </p:nvPr>
        </p:nvSpPr>
        <p:spPr>
          <a:xfrm>
            <a:off x="407988" y="2924944"/>
            <a:ext cx="4751907" cy="3528244"/>
          </a:xfrm>
          <a:prstGeom prst="rect">
            <a:avLst/>
          </a:prstGeom>
        </p:spPr>
        <p:txBody>
          <a:bodyPr>
            <a:noAutofit/>
          </a:bodyPr>
          <a:lstStyle>
            <a:lvl1pPr>
              <a:defRPr>
                <a:solidFill>
                  <a:schemeClr val="tx1"/>
                </a:solidFill>
              </a:defRPr>
            </a:lvl1pPr>
            <a:lvl2pPr>
              <a:buClr>
                <a:schemeClr val="accent1"/>
              </a:buClr>
              <a:defRPr>
                <a:solidFill>
                  <a:schemeClr val="tx1"/>
                </a:solidFill>
              </a:defRPr>
            </a:lvl2pPr>
            <a:lvl3pPr marL="360000" indent="-180000">
              <a:buClr>
                <a:schemeClr val="accent1"/>
              </a:buClr>
              <a:buFont typeface="Verdana" panose="020B0604030504040204" pitchFamily="34" charset="0"/>
              <a:buChar char="–"/>
              <a:defRPr>
                <a:solidFill>
                  <a:schemeClr val="tx1"/>
                </a:solidFill>
              </a:defRPr>
            </a:lvl3pPr>
            <a:lvl4pPr marL="539750" indent="-180000">
              <a:buClr>
                <a:schemeClr val="accent1"/>
              </a:buClr>
              <a:buFont typeface="Arial" panose="020B0604020202020204" pitchFamily="34" charset="0"/>
              <a:buChar char="•"/>
              <a:defRPr>
                <a:solidFill>
                  <a:schemeClr val="tx1"/>
                </a:solidFill>
              </a:defRPr>
            </a:lvl4pPr>
            <a:lvl5pPr marL="719138" indent="-180975">
              <a:buClr>
                <a:schemeClr val="accent1"/>
              </a:buClr>
              <a:buFont typeface="Courier New" panose="02070309020205020404" pitchFamily="49" charset="0"/>
              <a:buChar char="o"/>
              <a:defRPr>
                <a:solidFill>
                  <a:schemeClr val="tx1"/>
                </a:solidFill>
              </a:defRPr>
            </a:lvl5pPr>
          </a:lstStyle>
          <a:p>
            <a:pPr lvl="0"/>
            <a:r>
              <a:rPr lang="en-US"/>
              <a:t>Click to change the styles of the mask text</a:t>
            </a:r>
            <a:endParaRPr lang="fr-FR"/>
          </a:p>
          <a:p>
            <a:pPr lvl="1"/>
            <a:r>
              <a:rPr lang="en-US" noProof="0"/>
              <a:t>Second level</a:t>
            </a:r>
          </a:p>
          <a:p>
            <a:pPr lvl="2"/>
            <a:r>
              <a:rPr lang="en-US" noProof="0"/>
              <a:t>Third level</a:t>
            </a:r>
          </a:p>
          <a:p>
            <a:pPr lvl="3"/>
            <a:r>
              <a:rPr lang="en-US" noProof="0"/>
              <a:t>Fourth Level</a:t>
            </a:r>
          </a:p>
          <a:p>
            <a:pPr lvl="4"/>
            <a:r>
              <a:rPr lang="en-US" noProof="0"/>
              <a:t>Fifth Level</a:t>
            </a:r>
          </a:p>
        </p:txBody>
      </p:sp>
      <p:grpSp>
        <p:nvGrpSpPr>
          <p:cNvPr id="6" name="Groupe 1">
            <a:extLst>
              <a:ext uri="{FF2B5EF4-FFF2-40B4-BE49-F238E27FC236}">
                <a16:creationId xmlns:a16="http://schemas.microsoft.com/office/drawing/2014/main" id="{A3F39AA2-059E-265C-F7F7-FAE9230C41A4}"/>
              </a:ext>
            </a:extLst>
          </p:cNvPr>
          <p:cNvGrpSpPr/>
          <p:nvPr userDrawn="1"/>
        </p:nvGrpSpPr>
        <p:grpSpPr>
          <a:xfrm>
            <a:off x="11501102" y="171573"/>
            <a:ext cx="419436" cy="388988"/>
            <a:chOff x="11501102" y="171573"/>
            <a:chExt cx="419436" cy="388988"/>
          </a:xfrm>
        </p:grpSpPr>
        <p:sp>
          <p:nvSpPr>
            <p:cNvPr id="7" name="Freeform 13">
              <a:extLst>
                <a:ext uri="{FF2B5EF4-FFF2-40B4-BE49-F238E27FC236}">
                  <a16:creationId xmlns:a16="http://schemas.microsoft.com/office/drawing/2014/main" id="{072195B4-0CA6-C53F-4985-3DEAA2FF9532}"/>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00E08832-8E2D-C0DA-65B1-A87AFC7C8613}"/>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1" name="Rectangle 27">
            <a:extLst>
              <a:ext uri="{FF2B5EF4-FFF2-40B4-BE49-F238E27FC236}">
                <a16:creationId xmlns:a16="http://schemas.microsoft.com/office/drawing/2014/main" id="{66E1298A-8899-6638-9D29-0E877B367787}"/>
              </a:ext>
            </a:extLst>
          </p:cNvPr>
          <p:cNvSpPr/>
          <p:nvPr userDrawn="1"/>
        </p:nvSpPr>
        <p:spPr>
          <a:xfrm>
            <a:off x="767084" y="6517871"/>
            <a:ext cx="5058466" cy="215231"/>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A6A6A6"/>
                </a:solidFill>
                <a:latin typeface="Ubuntu" panose="020B0504030602030204" pitchFamily="34" charset="0"/>
                <a:cs typeface="Arial" panose="020B0604020202020204" pitchFamily="34" charset="0"/>
              </a:rPr>
              <a:t>The information contained in this document is proprietary. Copyright © 2024 Capgemini. All rights reserved. </a:t>
            </a:r>
            <a:r>
              <a:rPr lang="en-GB" sz="700">
                <a:solidFill>
                  <a:srgbClr val="A6A6A6"/>
                </a:solidFill>
                <a:latin typeface="Ubuntu" panose="020B0504030602030204" pitchFamily="34" charset="0"/>
                <a:cs typeface="Arial" panose="020B0604020202020204" pitchFamily="34" charset="0"/>
              </a:rPr>
              <a:t>|</a:t>
            </a:r>
          </a:p>
        </p:txBody>
      </p:sp>
      <p:sp>
        <p:nvSpPr>
          <p:cNvPr id="12" name="Rectangle 43">
            <a:extLst>
              <a:ext uri="{FF2B5EF4-FFF2-40B4-BE49-F238E27FC236}">
                <a16:creationId xmlns:a16="http://schemas.microsoft.com/office/drawing/2014/main" id="{47806121-E718-1C26-45D7-CAE84F1DD1E1}"/>
              </a:ext>
            </a:extLst>
          </p:cNvPr>
          <p:cNvSpPr/>
          <p:nvPr userDrawn="1"/>
        </p:nvSpPr>
        <p:spPr>
          <a:xfrm>
            <a:off x="5810446"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29850040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Large Title &amp; Large Image">
    <p:bg>
      <p:bgPr>
        <a:solidFill>
          <a:schemeClr val="accent4"/>
        </a:solidFill>
        <a:effectLst/>
      </p:bgPr>
    </p:bg>
    <p:spTree>
      <p:nvGrpSpPr>
        <p:cNvPr id="1" name=""/>
        <p:cNvGrpSpPr/>
        <p:nvPr/>
      </p:nvGrpSpPr>
      <p:grpSpPr>
        <a:xfrm>
          <a:off x="0" y="0"/>
          <a:ext cx="0" cy="0"/>
          <a:chOff x="0" y="0"/>
          <a:chExt cx="0" cy="0"/>
        </a:xfrm>
      </p:grpSpPr>
      <p:sp>
        <p:nvSpPr>
          <p:cNvPr id="3" name="Picture Placeholder 18">
            <a:extLst>
              <a:ext uri="{FF2B5EF4-FFF2-40B4-BE49-F238E27FC236}">
                <a16:creationId xmlns:a16="http://schemas.microsoft.com/office/drawing/2014/main" id="{D3B1FE99-E8D3-C5FE-4E44-4E4EF67B45DA}"/>
              </a:ext>
            </a:extLst>
          </p:cNvPr>
          <p:cNvSpPr>
            <a:spLocks noGrp="1"/>
          </p:cNvSpPr>
          <p:nvPr>
            <p:ph type="pic" sz="quarter" idx="10" hasCustomPrompt="1"/>
          </p:nvPr>
        </p:nvSpPr>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1141270"/>
            <a:ext cx="4751907" cy="1800200"/>
          </a:xfrm>
        </p:spPr>
        <p:txBody>
          <a:bodyPr vert="horz" lIns="0" tIns="0" rIns="0" bIns="0" rtlCol="0" anchor="b">
            <a:noAutofit/>
          </a:bodyPr>
          <a:lstStyle>
            <a:lvl1pPr>
              <a:lnSpc>
                <a:spcPct val="80000"/>
              </a:lnSpc>
              <a:defRPr lang="en-GB" sz="3600" baseline="0">
                <a:solidFill>
                  <a:schemeClr val="bg1"/>
                </a:solidFill>
              </a:defRPr>
            </a:lvl1pPr>
          </a:lstStyle>
          <a:p>
            <a:pPr lvl="0"/>
            <a:r>
              <a:rPr lang="en-US" noProof="0"/>
              <a:t>Insert page title (sentence case) </a:t>
            </a:r>
          </a:p>
        </p:txBody>
      </p:sp>
      <p:grpSp>
        <p:nvGrpSpPr>
          <p:cNvPr id="6" name="Groupe 1">
            <a:extLst>
              <a:ext uri="{FF2B5EF4-FFF2-40B4-BE49-F238E27FC236}">
                <a16:creationId xmlns:a16="http://schemas.microsoft.com/office/drawing/2014/main" id="{A3F39AA2-059E-265C-F7F7-FAE9230C41A4}"/>
              </a:ext>
            </a:extLst>
          </p:cNvPr>
          <p:cNvGrpSpPr/>
          <p:nvPr userDrawn="1"/>
        </p:nvGrpSpPr>
        <p:grpSpPr>
          <a:xfrm>
            <a:off x="11501102" y="171573"/>
            <a:ext cx="419436" cy="388988"/>
            <a:chOff x="11501102" y="171573"/>
            <a:chExt cx="419436" cy="388988"/>
          </a:xfrm>
        </p:grpSpPr>
        <p:sp>
          <p:nvSpPr>
            <p:cNvPr id="7" name="Freeform 13">
              <a:extLst>
                <a:ext uri="{FF2B5EF4-FFF2-40B4-BE49-F238E27FC236}">
                  <a16:creationId xmlns:a16="http://schemas.microsoft.com/office/drawing/2014/main" id="{072195B4-0CA6-C53F-4985-3DEAA2FF9532}"/>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00E08832-8E2D-C0DA-65B1-A87AFC7C8613}"/>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8801236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2_Full Picture White Spade">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9515EF69-611F-4B2F-BC64-DD310E600154}"/>
              </a:ext>
            </a:extLst>
          </p:cNvPr>
          <p:cNvSpPr>
            <a:spLocks noGrp="1"/>
          </p:cNvSpPr>
          <p:nvPr>
            <p:ph type="pic" sz="quarter" idx="10" hasCustomPrompt="1"/>
          </p:nvPr>
        </p:nvSpPr>
        <p:spPr>
          <a:xfrm>
            <a:off x="0" y="0"/>
            <a:ext cx="12192000" cy="6858000"/>
          </a:xfrm>
          <a:custGeom>
            <a:avLst/>
            <a:gdLst>
              <a:gd name="connsiteX0" fmla="*/ 11911680 w 12192000"/>
              <a:gd name="connsiteY0" fmla="*/ 373627 h 6858000"/>
              <a:gd name="connsiteX1" fmla="*/ 11857975 w 12192000"/>
              <a:gd name="connsiteY1" fmla="*/ 408564 h 6858000"/>
              <a:gd name="connsiteX2" fmla="*/ 11820236 w 12192000"/>
              <a:gd name="connsiteY2" fmla="*/ 476983 h 6858000"/>
              <a:gd name="connsiteX3" fmla="*/ 11778143 w 12192000"/>
              <a:gd name="connsiteY3" fmla="*/ 538124 h 6858000"/>
              <a:gd name="connsiteX4" fmla="*/ 11708472 w 12192000"/>
              <a:gd name="connsiteY4" fmla="*/ 581796 h 6858000"/>
              <a:gd name="connsiteX5" fmla="*/ 11753468 w 12192000"/>
              <a:gd name="connsiteY5" fmla="*/ 593441 h 6858000"/>
              <a:gd name="connsiteX6" fmla="*/ 11802818 w 12192000"/>
              <a:gd name="connsiteY6" fmla="*/ 589074 h 6858000"/>
              <a:gd name="connsiteX7" fmla="*/ 11887005 w 12192000"/>
              <a:gd name="connsiteY7" fmla="*/ 552681 h 6858000"/>
              <a:gd name="connsiteX8" fmla="*/ 11823139 w 12192000"/>
              <a:gd name="connsiteY8" fmla="*/ 494452 h 6858000"/>
              <a:gd name="connsiteX9" fmla="*/ 11911680 w 12192000"/>
              <a:gd name="connsiteY9" fmla="*/ 522111 h 6858000"/>
              <a:gd name="connsiteX10" fmla="*/ 11974094 w 12192000"/>
              <a:gd name="connsiteY10" fmla="*/ 460970 h 6858000"/>
              <a:gd name="connsiteX11" fmla="*/ 11972642 w 12192000"/>
              <a:gd name="connsiteY11" fmla="*/ 404197 h 6858000"/>
              <a:gd name="connsiteX12" fmla="*/ 11911680 w 12192000"/>
              <a:gd name="connsiteY12" fmla="*/ 373627 h 6858000"/>
              <a:gd name="connsiteX13" fmla="*/ 11785438 w 12192000"/>
              <a:gd name="connsiteY13" fmla="*/ 207688 h 6858000"/>
              <a:gd name="connsiteX14" fmla="*/ 11562864 w 12192000"/>
              <a:gd name="connsiteY14" fmla="*/ 439169 h 6858000"/>
              <a:gd name="connsiteX15" fmla="*/ 11639965 w 12192000"/>
              <a:gd name="connsiteY15" fmla="*/ 551270 h 6858000"/>
              <a:gd name="connsiteX16" fmla="*/ 11725794 w 12192000"/>
              <a:gd name="connsiteY16" fmla="*/ 546903 h 6858000"/>
              <a:gd name="connsiteX17" fmla="*/ 11786893 w 12192000"/>
              <a:gd name="connsiteY17" fmla="*/ 490124 h 6858000"/>
              <a:gd name="connsiteX18" fmla="*/ 11833444 w 12192000"/>
              <a:gd name="connsiteY18" fmla="*/ 412964 h 6858000"/>
              <a:gd name="connsiteX19" fmla="*/ 11895998 w 12192000"/>
              <a:gd name="connsiteY19" fmla="*/ 360553 h 6858000"/>
              <a:gd name="connsiteX20" fmla="*/ 11971644 w 12192000"/>
              <a:gd name="connsiteY20" fmla="*/ 379479 h 6858000"/>
              <a:gd name="connsiteX21" fmla="*/ 11907636 w 12192000"/>
              <a:gd name="connsiteY21" fmla="*/ 281937 h 6858000"/>
              <a:gd name="connsiteX22" fmla="*/ 11795621 w 12192000"/>
              <a:gd name="connsiteY22" fmla="*/ 212056 h 6858000"/>
              <a:gd name="connsiteX23" fmla="*/ 11785438 w 12192000"/>
              <a:gd name="connsiteY23" fmla="*/ 20768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11680" y="373627"/>
                </a:moveTo>
                <a:cubicBezTo>
                  <a:pt x="11888456" y="375083"/>
                  <a:pt x="11871038" y="389640"/>
                  <a:pt x="11857975" y="408564"/>
                </a:cubicBezTo>
                <a:cubicBezTo>
                  <a:pt x="11842009" y="428944"/>
                  <a:pt x="11831848" y="453692"/>
                  <a:pt x="11820236" y="476983"/>
                </a:cubicBezTo>
                <a:cubicBezTo>
                  <a:pt x="11808624" y="498819"/>
                  <a:pt x="11795561" y="519199"/>
                  <a:pt x="11778143" y="538124"/>
                </a:cubicBezTo>
                <a:cubicBezTo>
                  <a:pt x="11759274" y="558504"/>
                  <a:pt x="11736050" y="574517"/>
                  <a:pt x="11708472" y="581796"/>
                </a:cubicBezTo>
                <a:cubicBezTo>
                  <a:pt x="11721535" y="590530"/>
                  <a:pt x="11738953" y="593441"/>
                  <a:pt x="11753468" y="593441"/>
                </a:cubicBezTo>
                <a:cubicBezTo>
                  <a:pt x="11769434" y="594897"/>
                  <a:pt x="11786852" y="591986"/>
                  <a:pt x="11802818" y="589074"/>
                </a:cubicBezTo>
                <a:cubicBezTo>
                  <a:pt x="11833300" y="584707"/>
                  <a:pt x="11865232" y="574517"/>
                  <a:pt x="11887005" y="552681"/>
                </a:cubicBezTo>
                <a:cubicBezTo>
                  <a:pt x="11852169" y="552681"/>
                  <a:pt x="11824591" y="529389"/>
                  <a:pt x="11823139" y="494452"/>
                </a:cubicBezTo>
                <a:cubicBezTo>
                  <a:pt x="11844912" y="520655"/>
                  <a:pt x="11878296" y="530845"/>
                  <a:pt x="11911680" y="522111"/>
                </a:cubicBezTo>
                <a:cubicBezTo>
                  <a:pt x="11940709" y="513376"/>
                  <a:pt x="11965385" y="490085"/>
                  <a:pt x="11974094" y="460970"/>
                </a:cubicBezTo>
                <a:cubicBezTo>
                  <a:pt x="11979900" y="442046"/>
                  <a:pt x="11981351" y="423121"/>
                  <a:pt x="11972642" y="404197"/>
                </a:cubicBezTo>
                <a:cubicBezTo>
                  <a:pt x="11961030" y="382361"/>
                  <a:pt x="11936355" y="372171"/>
                  <a:pt x="11911680" y="373627"/>
                </a:cubicBezTo>
                <a:close/>
                <a:moveTo>
                  <a:pt x="11785438" y="207688"/>
                </a:moveTo>
                <a:cubicBezTo>
                  <a:pt x="11735977" y="268834"/>
                  <a:pt x="11562864" y="312510"/>
                  <a:pt x="11562864" y="439169"/>
                </a:cubicBezTo>
                <a:cubicBezTo>
                  <a:pt x="11562864" y="487212"/>
                  <a:pt x="11593413" y="533800"/>
                  <a:pt x="11639965" y="551270"/>
                </a:cubicBezTo>
                <a:cubicBezTo>
                  <a:pt x="11667605" y="561461"/>
                  <a:pt x="11698154" y="560005"/>
                  <a:pt x="11725794" y="546903"/>
                </a:cubicBezTo>
                <a:cubicBezTo>
                  <a:pt x="11751979" y="535256"/>
                  <a:pt x="11770891" y="514874"/>
                  <a:pt x="11786893" y="490124"/>
                </a:cubicBezTo>
                <a:cubicBezTo>
                  <a:pt x="11804350" y="465375"/>
                  <a:pt x="11817442" y="439169"/>
                  <a:pt x="11833444" y="412964"/>
                </a:cubicBezTo>
                <a:cubicBezTo>
                  <a:pt x="11847992" y="389670"/>
                  <a:pt x="11868358" y="366376"/>
                  <a:pt x="11895998" y="360553"/>
                </a:cubicBezTo>
                <a:cubicBezTo>
                  <a:pt x="11922183" y="353274"/>
                  <a:pt x="11952732" y="360553"/>
                  <a:pt x="11971644" y="379479"/>
                </a:cubicBezTo>
                <a:cubicBezTo>
                  <a:pt x="11960006" y="341627"/>
                  <a:pt x="11938185" y="309598"/>
                  <a:pt x="11907636" y="281937"/>
                </a:cubicBezTo>
                <a:cubicBezTo>
                  <a:pt x="11874177" y="251364"/>
                  <a:pt x="11836354" y="229526"/>
                  <a:pt x="11795621" y="212056"/>
                </a:cubicBezTo>
                <a:cubicBezTo>
                  <a:pt x="11792712" y="210600"/>
                  <a:pt x="11788348" y="209144"/>
                  <a:pt x="11785438" y="20768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50000"/>
                  </a:schemeClr>
                </a:solidFill>
              </a:defRPr>
            </a:lvl1pPr>
          </a:lstStyle>
          <a:p>
            <a:r>
              <a:rPr lang="en-US"/>
              <a:t>Click icon to add picture and send picture to back</a:t>
            </a:r>
          </a:p>
        </p:txBody>
      </p:sp>
      <p:sp>
        <p:nvSpPr>
          <p:cNvPr id="2" name="Title">
            <a:extLst>
              <a:ext uri="{FF2B5EF4-FFF2-40B4-BE49-F238E27FC236}">
                <a16:creationId xmlns:a16="http://schemas.microsoft.com/office/drawing/2014/main" id="{F7412FBE-22A2-10A4-80F8-94BD980CE061}"/>
              </a:ext>
            </a:extLst>
          </p:cNvPr>
          <p:cNvSpPr>
            <a:spLocks noGrp="1"/>
          </p:cNvSpPr>
          <p:nvPr>
            <p:ph type="ctrTitle" hasCustomPrompt="1"/>
          </p:nvPr>
        </p:nvSpPr>
        <p:spPr>
          <a:xfrm>
            <a:off x="1" y="2708920"/>
            <a:ext cx="7968207" cy="2949857"/>
          </a:xfrm>
          <a:solidFill>
            <a:schemeClr val="bg2"/>
          </a:solidFill>
        </p:spPr>
        <p:txBody>
          <a:bodyPr wrap="square" lIns="396000" tIns="360000" rIns="504000" bIns="1080000" anchor="b" anchorCtr="0">
            <a:noAutofit/>
          </a:bodyPr>
          <a:lstStyle>
            <a:lvl1pPr algn="l">
              <a:lnSpc>
                <a:spcPct val="90000"/>
              </a:lnSpc>
              <a:tabLst>
                <a:tab pos="1258888" algn="l"/>
              </a:tabLst>
              <a:defRPr sz="4400" b="0" cap="none" baseline="0">
                <a:solidFill>
                  <a:schemeClr val="tx1"/>
                </a:solidFill>
                <a:latin typeface="+mj-lt"/>
              </a:defRPr>
            </a:lvl1pPr>
          </a:lstStyle>
          <a:p>
            <a:r>
              <a:rPr lang="en-US"/>
              <a:t>Change the style of the title</a:t>
            </a:r>
            <a:endParaRPr lang="en-GB"/>
          </a:p>
        </p:txBody>
      </p:sp>
      <p:grpSp>
        <p:nvGrpSpPr>
          <p:cNvPr id="12" name="Group 37">
            <a:extLst>
              <a:ext uri="{FF2B5EF4-FFF2-40B4-BE49-F238E27FC236}">
                <a16:creationId xmlns:a16="http://schemas.microsoft.com/office/drawing/2014/main" id="{410EED03-E568-4797-9F93-83A0DEAA8E73}"/>
              </a:ext>
            </a:extLst>
          </p:cNvPr>
          <p:cNvGrpSpPr/>
          <p:nvPr userDrawn="1"/>
        </p:nvGrpSpPr>
        <p:grpSpPr>
          <a:xfrm>
            <a:off x="11562864" y="207688"/>
            <a:ext cx="418487" cy="387209"/>
            <a:chOff x="5481638" y="2859088"/>
            <a:chExt cx="1231900" cy="1139825"/>
          </a:xfrm>
          <a:solidFill>
            <a:schemeClr val="bg1"/>
          </a:solidFill>
        </p:grpSpPr>
        <p:sp>
          <p:nvSpPr>
            <p:cNvPr id="13" name="Freeform 320">
              <a:extLst>
                <a:ext uri="{FF2B5EF4-FFF2-40B4-BE49-F238E27FC236}">
                  <a16:creationId xmlns:a16="http://schemas.microsoft.com/office/drawing/2014/main" id="{B7BDD3A5-74DC-407F-917E-4CAA2D7F6478}"/>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321">
              <a:extLst>
                <a:ext uri="{FF2B5EF4-FFF2-40B4-BE49-F238E27FC236}">
                  <a16:creationId xmlns:a16="http://schemas.microsoft.com/office/drawing/2014/main" id="{AFD49D75-8E14-497D-BFBC-1AB7413E4B59}"/>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Subtitle">
            <a:extLst>
              <a:ext uri="{FF2B5EF4-FFF2-40B4-BE49-F238E27FC236}">
                <a16:creationId xmlns:a16="http://schemas.microsoft.com/office/drawing/2014/main" id="{B3FCD38E-1F71-EA8E-7048-F655798886D1}"/>
              </a:ext>
            </a:extLst>
          </p:cNvPr>
          <p:cNvSpPr>
            <a:spLocks noGrp="1"/>
          </p:cNvSpPr>
          <p:nvPr>
            <p:ph type="subTitle" idx="1" hasCustomPrompt="1"/>
          </p:nvPr>
        </p:nvSpPr>
        <p:spPr>
          <a:xfrm>
            <a:off x="407368" y="4725144"/>
            <a:ext cx="7273330" cy="276999"/>
          </a:xfrm>
          <a:prstGeom prst="rect">
            <a:avLst/>
          </a:prstGeom>
        </p:spPr>
        <p:txBody>
          <a:bodyPr wrap="square" lIns="18000" tIns="0" rIns="0" anchor="t" anchorCtr="0">
            <a:spAutoFit/>
          </a:bodyPr>
          <a:lstStyle>
            <a:lvl1pPr marL="0" indent="0" algn="l">
              <a:buNone/>
              <a:defRPr sz="18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text style</a:t>
            </a:r>
            <a:endParaRPr lang="en-GB"/>
          </a:p>
        </p:txBody>
      </p:sp>
      <p:sp>
        <p:nvSpPr>
          <p:cNvPr id="5" name="Graphic 13">
            <a:extLst>
              <a:ext uri="{FF2B5EF4-FFF2-40B4-BE49-F238E27FC236}">
                <a16:creationId xmlns:a16="http://schemas.microsoft.com/office/drawing/2014/main" id="{CF4CDC5C-93C3-DD14-AE50-79BD8533FBDC}"/>
              </a:ext>
            </a:extLst>
          </p:cNvPr>
          <p:cNvSpPr>
            <a:spLocks noChangeAspect="1"/>
          </p:cNvSpPr>
          <p:nvPr userDrawn="1"/>
        </p:nvSpPr>
        <p:spPr>
          <a:xfrm rot="20991934">
            <a:off x="3672117" y="2233051"/>
            <a:ext cx="8831893" cy="5793514"/>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23000">
                <a:schemeClr val="accent2">
                  <a:alpha val="0"/>
                </a:schemeClr>
              </a:gs>
              <a:gs pos="39000">
                <a:srgbClr val="12ABDB"/>
              </a:gs>
              <a:gs pos="62000">
                <a:srgbClr val="12ABDB"/>
              </a:gs>
              <a:gs pos="73000">
                <a:schemeClr val="accent2"/>
              </a:gs>
            </a:gsLst>
            <a:lin ang="16200000" scaled="0"/>
          </a:gradFill>
          <a:ln w="9525" cap="flat">
            <a:noFill/>
            <a:prstDash val="solid"/>
            <a:miter/>
          </a:ln>
        </p:spPr>
        <p:txBody>
          <a:bodyPr rtlCol="0" anchor="ctr"/>
          <a:lstStyle/>
          <a:p>
            <a:endParaRPr lang="de-DE"/>
          </a:p>
        </p:txBody>
      </p:sp>
    </p:spTree>
    <p:extLst>
      <p:ext uri="{BB962C8B-B14F-4D97-AF65-F5344CB8AC3E}">
        <p14:creationId xmlns:p14="http://schemas.microsoft.com/office/powerpoint/2010/main" val="302749158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0_Full Picture White Spade">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C1644004-3E4C-630D-498E-3B412C661EC3}"/>
              </a:ext>
            </a:extLst>
          </p:cNvPr>
          <p:cNvSpPr>
            <a:spLocks noGrp="1"/>
          </p:cNvSpPr>
          <p:nvPr>
            <p:ph type="pic" sz="quarter" idx="12" hasCustomPrompt="1"/>
          </p:nvPr>
        </p:nvSpPr>
        <p:spPr>
          <a:xfrm>
            <a:off x="6096001" y="908721"/>
            <a:ext cx="6095999"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4" name="Rectangle 3">
            <a:extLst>
              <a:ext uri="{FF2B5EF4-FFF2-40B4-BE49-F238E27FC236}">
                <a16:creationId xmlns:a16="http://schemas.microsoft.com/office/drawing/2014/main" id="{CF9F2543-ED25-CABD-A5E7-4778B0E770C5}"/>
              </a:ext>
            </a:extLst>
          </p:cNvPr>
          <p:cNvSpPr/>
          <p:nvPr userDrawn="1"/>
        </p:nvSpPr>
        <p:spPr>
          <a:xfrm>
            <a:off x="6096000" y="941033"/>
            <a:ext cx="6096000" cy="5916967"/>
          </a:xfrm>
          <a:prstGeom prst="rect">
            <a:avLst/>
          </a:prstGeom>
          <a:solidFill>
            <a:schemeClr val="bg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tx1"/>
                </a:solidFill>
              </a:rPr>
              <a:t>Photo placeholder</a:t>
            </a:r>
          </a:p>
        </p:txBody>
      </p:sp>
      <p:grpSp>
        <p:nvGrpSpPr>
          <p:cNvPr id="3" name="Groupe 1">
            <a:extLst>
              <a:ext uri="{FF2B5EF4-FFF2-40B4-BE49-F238E27FC236}">
                <a16:creationId xmlns:a16="http://schemas.microsoft.com/office/drawing/2014/main" id="{5BF2000C-3D95-2BC6-D7BE-1463D661CA47}"/>
              </a:ext>
            </a:extLst>
          </p:cNvPr>
          <p:cNvGrpSpPr/>
          <p:nvPr userDrawn="1"/>
        </p:nvGrpSpPr>
        <p:grpSpPr>
          <a:xfrm>
            <a:off x="11501102" y="171573"/>
            <a:ext cx="419436" cy="388988"/>
            <a:chOff x="11501102" y="171573"/>
            <a:chExt cx="419436" cy="388988"/>
          </a:xfrm>
        </p:grpSpPr>
        <p:sp>
          <p:nvSpPr>
            <p:cNvPr id="5" name="Freeform 13">
              <a:extLst>
                <a:ext uri="{FF2B5EF4-FFF2-40B4-BE49-F238E27FC236}">
                  <a16:creationId xmlns:a16="http://schemas.microsoft.com/office/drawing/2014/main" id="{E4F96F82-E497-3EE1-A989-AC382F032DE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 name="Freeform 14">
              <a:extLst>
                <a:ext uri="{FF2B5EF4-FFF2-40B4-BE49-F238E27FC236}">
                  <a16:creationId xmlns:a16="http://schemas.microsoft.com/office/drawing/2014/main" id="{26CF02A7-4591-73FA-64E8-45F4F7760E03}"/>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Text Placeholder 7">
            <a:extLst>
              <a:ext uri="{FF2B5EF4-FFF2-40B4-BE49-F238E27FC236}">
                <a16:creationId xmlns:a16="http://schemas.microsoft.com/office/drawing/2014/main" id="{AED17107-81A7-C8BC-E1CD-4D81DB793A17}"/>
              </a:ext>
            </a:extLst>
          </p:cNvPr>
          <p:cNvSpPr>
            <a:spLocks noGrp="1"/>
          </p:cNvSpPr>
          <p:nvPr>
            <p:ph type="body" sz="quarter" idx="10" hasCustomPrompt="1"/>
          </p:nvPr>
        </p:nvSpPr>
        <p:spPr>
          <a:xfrm>
            <a:off x="590889" y="483534"/>
            <a:ext cx="1597139" cy="1354137"/>
          </a:xfrm>
          <a:noFill/>
        </p:spPr>
        <p:txBody>
          <a:bodyPr anchor="b"/>
          <a:lstStyle>
            <a:lvl1pPr>
              <a:defRPr sz="8800" b="0" spc="-300" baseline="0">
                <a:solidFill>
                  <a:schemeClr val="bg1">
                    <a:alpha val="50000"/>
                  </a:schemeClr>
                </a:solidFill>
                <a:latin typeface="+mj-lt"/>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03</a:t>
            </a:r>
          </a:p>
        </p:txBody>
      </p:sp>
      <p:sp>
        <p:nvSpPr>
          <p:cNvPr id="9" name="Text Placeholder 7">
            <a:extLst>
              <a:ext uri="{FF2B5EF4-FFF2-40B4-BE49-F238E27FC236}">
                <a16:creationId xmlns:a16="http://schemas.microsoft.com/office/drawing/2014/main" id="{4FC0C65D-85FA-8DAD-6B3D-42CAFDD0074D}"/>
              </a:ext>
            </a:extLst>
          </p:cNvPr>
          <p:cNvSpPr>
            <a:spLocks noGrp="1"/>
          </p:cNvSpPr>
          <p:nvPr>
            <p:ph type="body" sz="quarter" idx="11" hasCustomPrompt="1"/>
          </p:nvPr>
        </p:nvSpPr>
        <p:spPr>
          <a:xfrm>
            <a:off x="590889" y="1932317"/>
            <a:ext cx="3817421" cy="2165230"/>
          </a:xfrm>
          <a:noFill/>
        </p:spPr>
        <p:txBody>
          <a:bodyPr anchor="t"/>
          <a:lstStyle>
            <a:lvl1pPr>
              <a:defRPr kumimoji="0" lang="en-US" sz="3200" b="0" i="0" u="none" strike="noStrike" kern="1200" cap="none" spc="0" normalizeH="0" baseline="0" noProof="0" dirty="0" smtClean="0">
                <a:ln>
                  <a:noFill/>
                </a:ln>
                <a:solidFill>
                  <a:schemeClr val="bg1"/>
                </a:solidFill>
                <a:effectLst/>
                <a:uLnTx/>
                <a:uFillTx/>
                <a:latin typeface="+mn-lt"/>
                <a:ea typeface="+mj-ea"/>
                <a:cs typeface="+mj-cs"/>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divider text </a:t>
            </a:r>
          </a:p>
        </p:txBody>
      </p:sp>
      <p:sp>
        <p:nvSpPr>
          <p:cNvPr id="7" name="Graphic 3">
            <a:extLst>
              <a:ext uri="{FF2B5EF4-FFF2-40B4-BE49-F238E27FC236}">
                <a16:creationId xmlns:a16="http://schemas.microsoft.com/office/drawing/2014/main" id="{74A9E74A-2CB2-120A-51E7-13DFFEDD1EA0}"/>
              </a:ext>
            </a:extLst>
          </p:cNvPr>
          <p:cNvSpPr/>
          <p:nvPr userDrawn="1"/>
        </p:nvSpPr>
        <p:spPr>
          <a:xfrm>
            <a:off x="223689" y="1804616"/>
            <a:ext cx="9659469" cy="3757244"/>
          </a:xfrm>
          <a:custGeom>
            <a:avLst/>
            <a:gdLst>
              <a:gd name="connsiteX0" fmla="*/ 7439120 w 7439501"/>
              <a:gd name="connsiteY0" fmla="*/ 30480 h 2893743"/>
              <a:gd name="connsiteX1" fmla="*/ 7433310 w 7439501"/>
              <a:gd name="connsiteY1" fmla="*/ 22860 h 2893743"/>
              <a:gd name="connsiteX2" fmla="*/ 7427500 w 7439501"/>
              <a:gd name="connsiteY2" fmla="*/ 15240 h 2893743"/>
              <a:gd name="connsiteX3" fmla="*/ 7421689 w 7439501"/>
              <a:gd name="connsiteY3" fmla="*/ 7620 h 2893743"/>
              <a:gd name="connsiteX4" fmla="*/ 7415879 w 7439501"/>
              <a:gd name="connsiteY4" fmla="*/ 0 h 2893743"/>
              <a:gd name="connsiteX5" fmla="*/ 7328249 w 7439501"/>
              <a:gd name="connsiteY5" fmla="*/ 64484 h 2893743"/>
              <a:gd name="connsiteX6" fmla="*/ 7251668 w 7439501"/>
              <a:gd name="connsiteY6" fmla="*/ 119444 h 2893743"/>
              <a:gd name="connsiteX7" fmla="*/ 7185756 w 7439501"/>
              <a:gd name="connsiteY7" fmla="*/ 164402 h 2893743"/>
              <a:gd name="connsiteX8" fmla="*/ 7131558 w 7439501"/>
              <a:gd name="connsiteY8" fmla="*/ 200692 h 2893743"/>
              <a:gd name="connsiteX9" fmla="*/ 7033356 w 7439501"/>
              <a:gd name="connsiteY9" fmla="*/ 262223 h 2893743"/>
              <a:gd name="connsiteX10" fmla="*/ 6979730 w 7439501"/>
              <a:gd name="connsiteY10" fmla="*/ 293656 h 2893743"/>
              <a:gd name="connsiteX11" fmla="*/ 6925723 w 7439501"/>
              <a:gd name="connsiteY11" fmla="*/ 324422 h 2893743"/>
              <a:gd name="connsiteX12" fmla="*/ 6898767 w 7439501"/>
              <a:gd name="connsiteY12" fmla="*/ 339852 h 2893743"/>
              <a:gd name="connsiteX13" fmla="*/ 6871240 w 7439501"/>
              <a:gd name="connsiteY13" fmla="*/ 354140 h 2893743"/>
              <a:gd name="connsiteX14" fmla="*/ 6815995 w 7439501"/>
              <a:gd name="connsiteY14" fmla="*/ 382429 h 2893743"/>
              <a:gd name="connsiteX15" fmla="*/ 6760274 w 7439501"/>
              <a:gd name="connsiteY15" fmla="*/ 409766 h 2893743"/>
              <a:gd name="connsiteX16" fmla="*/ 6703790 w 7439501"/>
              <a:gd name="connsiteY16" fmla="*/ 435293 h 2893743"/>
              <a:gd name="connsiteX17" fmla="*/ 6589109 w 7439501"/>
              <a:gd name="connsiteY17" fmla="*/ 482346 h 2893743"/>
              <a:gd name="connsiteX18" fmla="*/ 6560249 w 7439501"/>
              <a:gd name="connsiteY18" fmla="*/ 493490 h 2893743"/>
              <a:gd name="connsiteX19" fmla="*/ 6530817 w 7439501"/>
              <a:gd name="connsiteY19" fmla="*/ 503111 h 2893743"/>
              <a:gd name="connsiteX20" fmla="*/ 6472047 w 7439501"/>
              <a:gd name="connsiteY20" fmla="*/ 522446 h 2893743"/>
              <a:gd name="connsiteX21" fmla="*/ 6442329 w 7439501"/>
              <a:gd name="connsiteY21" fmla="*/ 530924 h 2893743"/>
              <a:gd name="connsiteX22" fmla="*/ 6412421 w 7439501"/>
              <a:gd name="connsiteY22" fmla="*/ 538829 h 2893743"/>
              <a:gd name="connsiteX23" fmla="*/ 6382512 w 7439501"/>
              <a:gd name="connsiteY23" fmla="*/ 546735 h 2893743"/>
              <a:gd name="connsiteX24" fmla="*/ 6367558 w 7439501"/>
              <a:gd name="connsiteY24" fmla="*/ 550640 h 2893743"/>
              <a:gd name="connsiteX25" fmla="*/ 6352413 w 7439501"/>
              <a:gd name="connsiteY25" fmla="*/ 553688 h 2893743"/>
              <a:gd name="connsiteX26" fmla="*/ 6291929 w 7439501"/>
              <a:gd name="connsiteY26" fmla="*/ 565595 h 2893743"/>
              <a:gd name="connsiteX27" fmla="*/ 6276785 w 7439501"/>
              <a:gd name="connsiteY27" fmla="*/ 568547 h 2893743"/>
              <a:gd name="connsiteX28" fmla="*/ 6261545 w 7439501"/>
              <a:gd name="connsiteY28" fmla="*/ 570548 h 2893743"/>
              <a:gd name="connsiteX29" fmla="*/ 6230970 w 7439501"/>
              <a:gd name="connsiteY29" fmla="*/ 574453 h 2893743"/>
              <a:gd name="connsiteX30" fmla="*/ 6108383 w 7439501"/>
              <a:gd name="connsiteY30" fmla="*/ 584264 h 2893743"/>
              <a:gd name="connsiteX31" fmla="*/ 6047232 w 7439501"/>
              <a:gd name="connsiteY31" fmla="*/ 583216 h 2893743"/>
              <a:gd name="connsiteX32" fmla="*/ 6031992 w 7439501"/>
              <a:gd name="connsiteY32" fmla="*/ 582930 h 2893743"/>
              <a:gd name="connsiteX33" fmla="*/ 6016752 w 7439501"/>
              <a:gd name="connsiteY33" fmla="*/ 581501 h 2893743"/>
              <a:gd name="connsiteX34" fmla="*/ 5986368 w 7439501"/>
              <a:gd name="connsiteY34" fmla="*/ 578644 h 2893743"/>
              <a:gd name="connsiteX35" fmla="*/ 5955983 w 7439501"/>
              <a:gd name="connsiteY35" fmla="*/ 575501 h 2893743"/>
              <a:gd name="connsiteX36" fmla="*/ 5925979 w 7439501"/>
              <a:gd name="connsiteY36" fmla="*/ 570357 h 2893743"/>
              <a:gd name="connsiteX37" fmla="*/ 5895975 w 7439501"/>
              <a:gd name="connsiteY37" fmla="*/ 565214 h 2893743"/>
              <a:gd name="connsiteX38" fmla="*/ 5866352 w 7439501"/>
              <a:gd name="connsiteY38" fmla="*/ 557975 h 2893743"/>
              <a:gd name="connsiteX39" fmla="*/ 5642324 w 7439501"/>
              <a:gd name="connsiteY39" fmla="*/ 465773 h 2893743"/>
              <a:gd name="connsiteX40" fmla="*/ 5456397 w 7439501"/>
              <a:gd name="connsiteY40" fmla="*/ 310229 h 2893743"/>
              <a:gd name="connsiteX41" fmla="*/ 5382483 w 7439501"/>
              <a:gd name="connsiteY41" fmla="*/ 213551 h 2893743"/>
              <a:gd name="connsiteX42" fmla="*/ 5324475 w 7439501"/>
              <a:gd name="connsiteY42" fmla="*/ 107061 h 2893743"/>
              <a:gd name="connsiteX43" fmla="*/ 5316474 w 7439501"/>
              <a:gd name="connsiteY43" fmla="*/ 88202 h 2893743"/>
              <a:gd name="connsiteX44" fmla="*/ 5305235 w 7439501"/>
              <a:gd name="connsiteY44" fmla="*/ 58484 h 2893743"/>
              <a:gd name="connsiteX45" fmla="*/ 5304854 w 7439501"/>
              <a:gd name="connsiteY45" fmla="*/ 58388 h 2893743"/>
              <a:gd name="connsiteX46" fmla="*/ 5289233 w 7439501"/>
              <a:gd name="connsiteY46" fmla="*/ 55626 h 2893743"/>
              <a:gd name="connsiteX47" fmla="*/ 5281994 w 7439501"/>
              <a:gd name="connsiteY47" fmla="*/ 54388 h 2893743"/>
              <a:gd name="connsiteX48" fmla="*/ 5277898 w 7439501"/>
              <a:gd name="connsiteY48" fmla="*/ 53816 h 2893743"/>
              <a:gd name="connsiteX49" fmla="*/ 5261420 w 7439501"/>
              <a:gd name="connsiteY49" fmla="*/ 51530 h 2893743"/>
              <a:gd name="connsiteX50" fmla="*/ 5228463 w 7439501"/>
              <a:gd name="connsiteY50" fmla="*/ 47625 h 2893743"/>
              <a:gd name="connsiteX51" fmla="*/ 5195507 w 7439501"/>
              <a:gd name="connsiteY51" fmla="*/ 44577 h 2893743"/>
              <a:gd name="connsiteX52" fmla="*/ 5162550 w 7439501"/>
              <a:gd name="connsiteY52" fmla="*/ 42196 h 2893743"/>
              <a:gd name="connsiteX53" fmla="*/ 5129594 w 7439501"/>
              <a:gd name="connsiteY53" fmla="*/ 40576 h 2893743"/>
              <a:gd name="connsiteX54" fmla="*/ 5096542 w 7439501"/>
              <a:gd name="connsiteY54" fmla="*/ 39529 h 2893743"/>
              <a:gd name="connsiteX55" fmla="*/ 5030534 w 7439501"/>
              <a:gd name="connsiteY55" fmla="*/ 38957 h 2893743"/>
              <a:gd name="connsiteX56" fmla="*/ 4975956 w 7439501"/>
              <a:gd name="connsiteY56" fmla="*/ 40386 h 2893743"/>
              <a:gd name="connsiteX57" fmla="*/ 4921377 w 7439501"/>
              <a:gd name="connsiteY57" fmla="*/ 43244 h 2893743"/>
              <a:gd name="connsiteX58" fmla="*/ 4866894 w 7439501"/>
              <a:gd name="connsiteY58" fmla="*/ 47625 h 2893743"/>
              <a:gd name="connsiteX59" fmla="*/ 4812602 w 7439501"/>
              <a:gd name="connsiteY59" fmla="*/ 53435 h 2893743"/>
              <a:gd name="connsiteX60" fmla="*/ 4704588 w 7439501"/>
              <a:gd name="connsiteY60" fmla="*/ 69723 h 2893743"/>
              <a:gd name="connsiteX61" fmla="*/ 4650962 w 7439501"/>
              <a:gd name="connsiteY61" fmla="*/ 80010 h 2893743"/>
              <a:gd name="connsiteX62" fmla="*/ 4597623 w 7439501"/>
              <a:gd name="connsiteY62" fmla="*/ 91726 h 2893743"/>
              <a:gd name="connsiteX63" fmla="*/ 4544568 w 7439501"/>
              <a:gd name="connsiteY63" fmla="*/ 104775 h 2893743"/>
              <a:gd name="connsiteX64" fmla="*/ 4491990 w 7439501"/>
              <a:gd name="connsiteY64" fmla="*/ 119634 h 2893743"/>
              <a:gd name="connsiteX65" fmla="*/ 4439889 w 7439501"/>
              <a:gd name="connsiteY65" fmla="*/ 135922 h 2893743"/>
              <a:gd name="connsiteX66" fmla="*/ 4388168 w 7439501"/>
              <a:gd name="connsiteY66" fmla="*/ 153448 h 2893743"/>
              <a:gd name="connsiteX67" fmla="*/ 4336923 w 7439501"/>
              <a:gd name="connsiteY67" fmla="*/ 172403 h 2893743"/>
              <a:gd name="connsiteX68" fmla="*/ 4286441 w 7439501"/>
              <a:gd name="connsiteY68" fmla="*/ 193167 h 2893743"/>
              <a:gd name="connsiteX69" fmla="*/ 4186904 w 7439501"/>
              <a:gd name="connsiteY69" fmla="*/ 238316 h 2893743"/>
              <a:gd name="connsiteX70" fmla="*/ 4138422 w 7439501"/>
              <a:gd name="connsiteY70" fmla="*/ 263462 h 2893743"/>
              <a:gd name="connsiteX71" fmla="*/ 4090416 w 7439501"/>
              <a:gd name="connsiteY71" fmla="*/ 289560 h 2893743"/>
              <a:gd name="connsiteX72" fmla="*/ 3997071 w 7439501"/>
              <a:gd name="connsiteY72" fmla="*/ 346329 h 2893743"/>
              <a:gd name="connsiteX73" fmla="*/ 3951351 w 7439501"/>
              <a:gd name="connsiteY73" fmla="*/ 376238 h 2893743"/>
              <a:gd name="connsiteX74" fmla="*/ 3907060 w 7439501"/>
              <a:gd name="connsiteY74" fmla="*/ 408146 h 2893743"/>
              <a:gd name="connsiteX75" fmla="*/ 3820573 w 7439501"/>
              <a:gd name="connsiteY75" fmla="*/ 474917 h 2893743"/>
              <a:gd name="connsiteX76" fmla="*/ 3514439 w 7439501"/>
              <a:gd name="connsiteY76" fmla="*/ 785336 h 2893743"/>
              <a:gd name="connsiteX77" fmla="*/ 3514439 w 7439501"/>
              <a:gd name="connsiteY77" fmla="*/ 785527 h 2893743"/>
              <a:gd name="connsiteX78" fmla="*/ 3399377 w 7439501"/>
              <a:gd name="connsiteY78" fmla="*/ 944690 h 2893743"/>
              <a:gd name="connsiteX79" fmla="*/ 3295460 w 7439501"/>
              <a:gd name="connsiteY79" fmla="*/ 1110329 h 2893743"/>
              <a:gd name="connsiteX80" fmla="*/ 3196685 w 7439501"/>
              <a:gd name="connsiteY80" fmla="*/ 1278446 h 2893743"/>
              <a:gd name="connsiteX81" fmla="*/ 3098578 w 7439501"/>
              <a:gd name="connsiteY81" fmla="*/ 1446467 h 2893743"/>
              <a:gd name="connsiteX82" fmla="*/ 2997803 w 7439501"/>
              <a:gd name="connsiteY82" fmla="*/ 1612487 h 2893743"/>
              <a:gd name="connsiteX83" fmla="*/ 2891600 w 7439501"/>
              <a:gd name="connsiteY83" fmla="*/ 1774698 h 2893743"/>
              <a:gd name="connsiteX84" fmla="*/ 2654999 w 7439501"/>
              <a:gd name="connsiteY84" fmla="*/ 2080736 h 2893743"/>
              <a:gd name="connsiteX85" fmla="*/ 2521839 w 7439501"/>
              <a:gd name="connsiteY85" fmla="*/ 2220659 h 2893743"/>
              <a:gd name="connsiteX86" fmla="*/ 2377631 w 7439501"/>
              <a:gd name="connsiteY86" fmla="*/ 2348960 h 2893743"/>
              <a:gd name="connsiteX87" fmla="*/ 2222754 w 7439501"/>
              <a:gd name="connsiteY87" fmla="*/ 2463927 h 2893743"/>
              <a:gd name="connsiteX88" fmla="*/ 2057876 w 7439501"/>
              <a:gd name="connsiteY88" fmla="*/ 2564035 h 2893743"/>
              <a:gd name="connsiteX89" fmla="*/ 1329404 w 7439501"/>
              <a:gd name="connsiteY89" fmla="*/ 2810542 h 2893743"/>
              <a:gd name="connsiteX90" fmla="*/ 685800 w 7439501"/>
              <a:gd name="connsiteY90" fmla="*/ 2854833 h 2893743"/>
              <a:gd name="connsiteX91" fmla="*/ 643128 w 7439501"/>
              <a:gd name="connsiteY91" fmla="*/ 2853404 h 2893743"/>
              <a:gd name="connsiteX92" fmla="*/ 589788 w 7439501"/>
              <a:gd name="connsiteY92" fmla="*/ 2851690 h 2893743"/>
              <a:gd name="connsiteX93" fmla="*/ 515207 w 7439501"/>
              <a:gd name="connsiteY93" fmla="*/ 2847689 h 2893743"/>
              <a:gd name="connsiteX94" fmla="*/ 5715 w 7439501"/>
              <a:gd name="connsiteY94" fmla="*/ 2791873 h 2893743"/>
              <a:gd name="connsiteX95" fmla="*/ 4286 w 7439501"/>
              <a:gd name="connsiteY95" fmla="*/ 2801302 h 2893743"/>
              <a:gd name="connsiteX96" fmla="*/ 2858 w 7439501"/>
              <a:gd name="connsiteY96" fmla="*/ 2810732 h 2893743"/>
              <a:gd name="connsiteX97" fmla="*/ 1429 w 7439501"/>
              <a:gd name="connsiteY97" fmla="*/ 2820162 h 2893743"/>
              <a:gd name="connsiteX98" fmla="*/ 0 w 7439501"/>
              <a:gd name="connsiteY98" fmla="*/ 2829592 h 2893743"/>
              <a:gd name="connsiteX99" fmla="*/ 513112 w 7439501"/>
              <a:gd name="connsiteY99" fmla="*/ 2885789 h 2893743"/>
              <a:gd name="connsiteX100" fmla="*/ 588359 w 7439501"/>
              <a:gd name="connsiteY100" fmla="*/ 2889885 h 2893743"/>
              <a:gd name="connsiteX101" fmla="*/ 642176 w 7439501"/>
              <a:gd name="connsiteY101" fmla="*/ 2891695 h 2893743"/>
              <a:gd name="connsiteX102" fmla="*/ 685229 w 7439501"/>
              <a:gd name="connsiteY102" fmla="*/ 2893124 h 2893743"/>
              <a:gd name="connsiteX103" fmla="*/ 1336072 w 7439501"/>
              <a:gd name="connsiteY103" fmla="*/ 2848356 h 2893743"/>
              <a:gd name="connsiteX104" fmla="*/ 2076355 w 7439501"/>
              <a:gd name="connsiteY104" fmla="*/ 2597753 h 2893743"/>
              <a:gd name="connsiteX105" fmla="*/ 2244185 w 7439501"/>
              <a:gd name="connsiteY105" fmla="*/ 2495836 h 2893743"/>
              <a:gd name="connsiteX106" fmla="*/ 2401919 w 7439501"/>
              <a:gd name="connsiteY106" fmla="*/ 2378869 h 2893743"/>
              <a:gd name="connsiteX107" fmla="*/ 2548604 w 7439501"/>
              <a:gd name="connsiteY107" fmla="*/ 2248376 h 2893743"/>
              <a:gd name="connsiteX108" fmla="*/ 2683859 w 7439501"/>
              <a:gd name="connsiteY108" fmla="*/ 2106359 h 2893743"/>
              <a:gd name="connsiteX109" fmla="*/ 2923318 w 7439501"/>
              <a:gd name="connsiteY109" fmla="*/ 1796606 h 2893743"/>
              <a:gd name="connsiteX110" fmla="*/ 3030379 w 7439501"/>
              <a:gd name="connsiteY110" fmla="*/ 1633061 h 2893743"/>
              <a:gd name="connsiteX111" fmla="*/ 3131630 w 7439501"/>
              <a:gd name="connsiteY111" fmla="*/ 1466183 h 2893743"/>
              <a:gd name="connsiteX112" fmla="*/ 3229928 w 7439501"/>
              <a:gd name="connsiteY112" fmla="*/ 1297972 h 2893743"/>
              <a:gd name="connsiteX113" fmla="*/ 3328416 w 7439501"/>
              <a:gd name="connsiteY113" fmla="*/ 1130332 h 2893743"/>
              <a:gd name="connsiteX114" fmla="*/ 3431381 w 7439501"/>
              <a:gd name="connsiteY114" fmla="*/ 966121 h 2893743"/>
              <a:gd name="connsiteX115" fmla="*/ 3544348 w 7439501"/>
              <a:gd name="connsiteY115" fmla="*/ 809720 h 2893743"/>
              <a:gd name="connsiteX116" fmla="*/ 3544348 w 7439501"/>
              <a:gd name="connsiteY116" fmla="*/ 809530 h 2893743"/>
              <a:gd name="connsiteX117" fmla="*/ 3844957 w 7439501"/>
              <a:gd name="connsiteY117" fmla="*/ 504730 h 2893743"/>
              <a:gd name="connsiteX118" fmla="*/ 3929729 w 7439501"/>
              <a:gd name="connsiteY118" fmla="*/ 439293 h 2893743"/>
              <a:gd name="connsiteX119" fmla="*/ 3973164 w 7439501"/>
              <a:gd name="connsiteY119" fmla="*/ 407956 h 2893743"/>
              <a:gd name="connsiteX120" fmla="*/ 4017931 w 7439501"/>
              <a:gd name="connsiteY120" fmla="*/ 378619 h 2893743"/>
              <a:gd name="connsiteX121" fmla="*/ 4109466 w 7439501"/>
              <a:gd name="connsiteY121" fmla="*/ 322993 h 2893743"/>
              <a:gd name="connsiteX122" fmla="*/ 4156520 w 7439501"/>
              <a:gd name="connsiteY122" fmla="*/ 297371 h 2893743"/>
              <a:gd name="connsiteX123" fmla="*/ 4204050 w 7439501"/>
              <a:gd name="connsiteY123" fmla="*/ 272701 h 2893743"/>
              <a:gd name="connsiteX124" fmla="*/ 4301585 w 7439501"/>
              <a:gd name="connsiteY124" fmla="*/ 228409 h 2893743"/>
              <a:gd name="connsiteX125" fmla="*/ 4351116 w 7439501"/>
              <a:gd name="connsiteY125" fmla="*/ 208026 h 2893743"/>
              <a:gd name="connsiteX126" fmla="*/ 4401312 w 7439501"/>
              <a:gd name="connsiteY126" fmla="*/ 189452 h 2893743"/>
              <a:gd name="connsiteX127" fmla="*/ 4451985 w 7439501"/>
              <a:gd name="connsiteY127" fmla="*/ 172307 h 2893743"/>
              <a:gd name="connsiteX128" fmla="*/ 4503134 w 7439501"/>
              <a:gd name="connsiteY128" fmla="*/ 156305 h 2893743"/>
              <a:gd name="connsiteX129" fmla="*/ 4554665 w 7439501"/>
              <a:gd name="connsiteY129" fmla="*/ 141732 h 2893743"/>
              <a:gd name="connsiteX130" fmla="*/ 4606671 w 7439501"/>
              <a:gd name="connsiteY130" fmla="*/ 128969 h 2893743"/>
              <a:gd name="connsiteX131" fmla="*/ 4658964 w 7439501"/>
              <a:gd name="connsiteY131" fmla="*/ 117539 h 2893743"/>
              <a:gd name="connsiteX132" fmla="*/ 4711542 w 7439501"/>
              <a:gd name="connsiteY132" fmla="*/ 107442 h 2893743"/>
              <a:gd name="connsiteX133" fmla="*/ 4817459 w 7439501"/>
              <a:gd name="connsiteY133" fmla="*/ 91440 h 2893743"/>
              <a:gd name="connsiteX134" fmla="*/ 4870704 w 7439501"/>
              <a:gd name="connsiteY134" fmla="*/ 85725 h 2893743"/>
              <a:gd name="connsiteX135" fmla="*/ 4924140 w 7439501"/>
              <a:gd name="connsiteY135" fmla="*/ 81439 h 2893743"/>
              <a:gd name="connsiteX136" fmla="*/ 4977670 w 7439501"/>
              <a:gd name="connsiteY136" fmla="*/ 78581 h 2893743"/>
              <a:gd name="connsiteX137" fmla="*/ 5031201 w 7439501"/>
              <a:gd name="connsiteY137" fmla="*/ 77153 h 2893743"/>
              <a:gd name="connsiteX138" fmla="*/ 5095875 w 7439501"/>
              <a:gd name="connsiteY138" fmla="*/ 77724 h 2893743"/>
              <a:gd name="connsiteX139" fmla="*/ 5128165 w 7439501"/>
              <a:gd name="connsiteY139" fmla="*/ 78772 h 2893743"/>
              <a:gd name="connsiteX140" fmla="*/ 5160455 w 7439501"/>
              <a:gd name="connsiteY140" fmla="*/ 80391 h 2893743"/>
              <a:gd name="connsiteX141" fmla="*/ 5192649 w 7439501"/>
              <a:gd name="connsiteY141" fmla="*/ 82677 h 2893743"/>
              <a:gd name="connsiteX142" fmla="*/ 5224749 w 7439501"/>
              <a:gd name="connsiteY142" fmla="*/ 85725 h 2893743"/>
              <a:gd name="connsiteX143" fmla="*/ 5256657 w 7439501"/>
              <a:gd name="connsiteY143" fmla="*/ 89535 h 2893743"/>
              <a:gd name="connsiteX144" fmla="*/ 5272469 w 7439501"/>
              <a:gd name="connsiteY144" fmla="*/ 91726 h 2893743"/>
              <a:gd name="connsiteX145" fmla="*/ 5277612 w 7439501"/>
              <a:gd name="connsiteY145" fmla="*/ 92488 h 2893743"/>
              <a:gd name="connsiteX146" fmla="*/ 5277612 w 7439501"/>
              <a:gd name="connsiteY146" fmla="*/ 92488 h 2893743"/>
              <a:gd name="connsiteX147" fmla="*/ 5281327 w 7439501"/>
              <a:gd name="connsiteY147" fmla="*/ 102394 h 2893743"/>
              <a:gd name="connsiteX148" fmla="*/ 5289804 w 7439501"/>
              <a:gd name="connsiteY148" fmla="*/ 122587 h 2893743"/>
              <a:gd name="connsiteX149" fmla="*/ 5350859 w 7439501"/>
              <a:gd name="connsiteY149" fmla="*/ 234601 h 2893743"/>
              <a:gd name="connsiteX150" fmla="*/ 5428107 w 7439501"/>
              <a:gd name="connsiteY150" fmla="*/ 335661 h 2893743"/>
              <a:gd name="connsiteX151" fmla="*/ 5622893 w 7439501"/>
              <a:gd name="connsiteY151" fmla="*/ 498539 h 2893743"/>
              <a:gd name="connsiteX152" fmla="*/ 5857590 w 7439501"/>
              <a:gd name="connsiteY152" fmla="*/ 595217 h 2893743"/>
              <a:gd name="connsiteX153" fmla="*/ 5888546 w 7439501"/>
              <a:gd name="connsiteY153" fmla="*/ 602742 h 2893743"/>
              <a:gd name="connsiteX154" fmla="*/ 5919883 w 7439501"/>
              <a:gd name="connsiteY154" fmla="*/ 608171 h 2893743"/>
              <a:gd name="connsiteX155" fmla="*/ 5951221 w 7439501"/>
              <a:gd name="connsiteY155" fmla="*/ 613505 h 2893743"/>
              <a:gd name="connsiteX156" fmla="*/ 5982843 w 7439501"/>
              <a:gd name="connsiteY156" fmla="*/ 616744 h 2893743"/>
              <a:gd name="connsiteX157" fmla="*/ 6014466 w 7439501"/>
              <a:gd name="connsiteY157" fmla="*/ 619697 h 2893743"/>
              <a:gd name="connsiteX158" fmla="*/ 6030278 w 7439501"/>
              <a:gd name="connsiteY158" fmla="*/ 621125 h 2893743"/>
              <a:gd name="connsiteX159" fmla="*/ 6046089 w 7439501"/>
              <a:gd name="connsiteY159" fmla="*/ 621411 h 2893743"/>
              <a:gd name="connsiteX160" fmla="*/ 6109526 w 7439501"/>
              <a:gd name="connsiteY160" fmla="*/ 622459 h 2893743"/>
              <a:gd name="connsiteX161" fmla="*/ 6236113 w 7439501"/>
              <a:gd name="connsiteY161" fmla="*/ 612362 h 2893743"/>
              <a:gd name="connsiteX162" fmla="*/ 6267545 w 7439501"/>
              <a:gd name="connsiteY162" fmla="*/ 608362 h 2893743"/>
              <a:gd name="connsiteX163" fmla="*/ 6283262 w 7439501"/>
              <a:gd name="connsiteY163" fmla="*/ 606266 h 2893743"/>
              <a:gd name="connsiteX164" fmla="*/ 6298788 w 7439501"/>
              <a:gd name="connsiteY164" fmla="*/ 603218 h 2893743"/>
              <a:gd name="connsiteX165" fmla="*/ 6360986 w 7439501"/>
              <a:gd name="connsiteY165" fmla="*/ 591026 h 2893743"/>
              <a:gd name="connsiteX166" fmla="*/ 6376511 w 7439501"/>
              <a:gd name="connsiteY166" fmla="*/ 587883 h 2893743"/>
              <a:gd name="connsiteX167" fmla="*/ 6391847 w 7439501"/>
              <a:gd name="connsiteY167" fmla="*/ 583883 h 2893743"/>
              <a:gd name="connsiteX168" fmla="*/ 6422422 w 7439501"/>
              <a:gd name="connsiteY168" fmla="*/ 575882 h 2893743"/>
              <a:gd name="connsiteX169" fmla="*/ 6452997 w 7439501"/>
              <a:gd name="connsiteY169" fmla="*/ 567785 h 2893743"/>
              <a:gd name="connsiteX170" fmla="*/ 6483382 w 7439501"/>
              <a:gd name="connsiteY170" fmla="*/ 559118 h 2893743"/>
              <a:gd name="connsiteX171" fmla="*/ 6543390 w 7439501"/>
              <a:gd name="connsiteY171" fmla="*/ 539401 h 2893743"/>
              <a:gd name="connsiteX172" fmla="*/ 6573393 w 7439501"/>
              <a:gd name="connsiteY172" fmla="*/ 529590 h 2893743"/>
              <a:gd name="connsiteX173" fmla="*/ 6602826 w 7439501"/>
              <a:gd name="connsiteY173" fmla="*/ 518255 h 2893743"/>
              <a:gd name="connsiteX174" fmla="*/ 6719507 w 7439501"/>
              <a:gd name="connsiteY174" fmla="*/ 470440 h 2893743"/>
              <a:gd name="connsiteX175" fmla="*/ 6776943 w 7439501"/>
              <a:gd name="connsiteY175" fmla="*/ 444437 h 2893743"/>
              <a:gd name="connsiteX176" fmla="*/ 6833426 w 7439501"/>
              <a:gd name="connsiteY176" fmla="*/ 416719 h 2893743"/>
              <a:gd name="connsiteX177" fmla="*/ 6889433 w 7439501"/>
              <a:gd name="connsiteY177" fmla="*/ 388049 h 2893743"/>
              <a:gd name="connsiteX178" fmla="*/ 6917341 w 7439501"/>
              <a:gd name="connsiteY178" fmla="*/ 373571 h 2893743"/>
              <a:gd name="connsiteX179" fmla="*/ 6944678 w 7439501"/>
              <a:gd name="connsiteY179" fmla="*/ 358045 h 2893743"/>
              <a:gd name="connsiteX180" fmla="*/ 6999256 w 7439501"/>
              <a:gd name="connsiteY180" fmla="*/ 326898 h 2893743"/>
              <a:gd name="connsiteX181" fmla="*/ 7053453 w 7439501"/>
              <a:gd name="connsiteY181" fmla="*/ 295085 h 2893743"/>
              <a:gd name="connsiteX182" fmla="*/ 7152704 w 7439501"/>
              <a:gd name="connsiteY182" fmla="*/ 232886 h 2893743"/>
              <a:gd name="connsiteX183" fmla="*/ 7207472 w 7439501"/>
              <a:gd name="connsiteY183" fmla="*/ 196310 h 2893743"/>
              <a:gd name="connsiteX184" fmla="*/ 7273957 w 7439501"/>
              <a:gd name="connsiteY184" fmla="*/ 150971 h 2893743"/>
              <a:gd name="connsiteX185" fmla="*/ 7351205 w 7439501"/>
              <a:gd name="connsiteY185" fmla="*/ 95631 h 2893743"/>
              <a:gd name="connsiteX186" fmla="*/ 7439502 w 7439501"/>
              <a:gd name="connsiteY186" fmla="*/ 30671 h 2893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7439501" h="2893743">
                <a:moveTo>
                  <a:pt x="7439120" y="30480"/>
                </a:moveTo>
                <a:lnTo>
                  <a:pt x="7433310" y="22860"/>
                </a:lnTo>
                <a:lnTo>
                  <a:pt x="7427500" y="15240"/>
                </a:lnTo>
                <a:lnTo>
                  <a:pt x="7421689" y="7620"/>
                </a:lnTo>
                <a:lnTo>
                  <a:pt x="7415879" y="0"/>
                </a:lnTo>
                <a:cubicBezTo>
                  <a:pt x="7384733" y="22955"/>
                  <a:pt x="7355491" y="44387"/>
                  <a:pt x="7328249" y="64484"/>
                </a:cubicBezTo>
                <a:cubicBezTo>
                  <a:pt x="7300913" y="84487"/>
                  <a:pt x="7275862" y="103537"/>
                  <a:pt x="7251668" y="119444"/>
                </a:cubicBezTo>
                <a:cubicBezTo>
                  <a:pt x="7227665" y="135731"/>
                  <a:pt x="7205758" y="150781"/>
                  <a:pt x="7185756" y="164402"/>
                </a:cubicBezTo>
                <a:cubicBezTo>
                  <a:pt x="7165658" y="177832"/>
                  <a:pt x="7148132" y="190691"/>
                  <a:pt x="7131558" y="200692"/>
                </a:cubicBezTo>
                <a:cubicBezTo>
                  <a:pt x="7066122" y="241745"/>
                  <a:pt x="7033356" y="262223"/>
                  <a:pt x="7033356" y="262223"/>
                </a:cubicBezTo>
                <a:cubicBezTo>
                  <a:pt x="7016020" y="273558"/>
                  <a:pt x="6997637" y="283274"/>
                  <a:pt x="6979730" y="293656"/>
                </a:cubicBezTo>
                <a:cubicBezTo>
                  <a:pt x="6961727" y="303943"/>
                  <a:pt x="6943725" y="314135"/>
                  <a:pt x="6925723" y="324422"/>
                </a:cubicBezTo>
                <a:lnTo>
                  <a:pt x="6898767" y="339852"/>
                </a:lnTo>
                <a:cubicBezTo>
                  <a:pt x="6889718" y="344805"/>
                  <a:pt x="6880384" y="349377"/>
                  <a:pt x="6871240" y="354140"/>
                </a:cubicBezTo>
                <a:cubicBezTo>
                  <a:pt x="6852857" y="363569"/>
                  <a:pt x="6834378" y="372999"/>
                  <a:pt x="6815995" y="382429"/>
                </a:cubicBezTo>
                <a:cubicBezTo>
                  <a:pt x="6797517" y="391763"/>
                  <a:pt x="6779324" y="401669"/>
                  <a:pt x="6760274" y="409766"/>
                </a:cubicBezTo>
                <a:lnTo>
                  <a:pt x="6703790" y="435293"/>
                </a:lnTo>
                <a:cubicBezTo>
                  <a:pt x="6666452" y="453295"/>
                  <a:pt x="6627496" y="466916"/>
                  <a:pt x="6589109" y="482346"/>
                </a:cubicBezTo>
                <a:cubicBezTo>
                  <a:pt x="6579489" y="486061"/>
                  <a:pt x="6569964" y="490061"/>
                  <a:pt x="6560249" y="493490"/>
                </a:cubicBezTo>
                <a:lnTo>
                  <a:pt x="6530817" y="503111"/>
                </a:lnTo>
                <a:lnTo>
                  <a:pt x="6472047" y="522446"/>
                </a:lnTo>
                <a:cubicBezTo>
                  <a:pt x="6462332" y="525971"/>
                  <a:pt x="6452235" y="528257"/>
                  <a:pt x="6442329" y="530924"/>
                </a:cubicBezTo>
                <a:lnTo>
                  <a:pt x="6412421" y="538829"/>
                </a:lnTo>
                <a:lnTo>
                  <a:pt x="6382512" y="546735"/>
                </a:lnTo>
                <a:lnTo>
                  <a:pt x="6367558" y="550640"/>
                </a:lnTo>
                <a:cubicBezTo>
                  <a:pt x="6362510" y="551783"/>
                  <a:pt x="6357461" y="552641"/>
                  <a:pt x="6352413" y="553688"/>
                </a:cubicBezTo>
                <a:lnTo>
                  <a:pt x="6291929" y="565595"/>
                </a:lnTo>
                <a:lnTo>
                  <a:pt x="6276785" y="568547"/>
                </a:lnTo>
                <a:cubicBezTo>
                  <a:pt x="6271736" y="569309"/>
                  <a:pt x="6266593" y="569881"/>
                  <a:pt x="6261545" y="570548"/>
                </a:cubicBezTo>
                <a:lnTo>
                  <a:pt x="6230970" y="574453"/>
                </a:lnTo>
                <a:cubicBezTo>
                  <a:pt x="6190298" y="580930"/>
                  <a:pt x="6149340" y="581692"/>
                  <a:pt x="6108383" y="584264"/>
                </a:cubicBezTo>
                <a:lnTo>
                  <a:pt x="6047232" y="583216"/>
                </a:lnTo>
                <a:lnTo>
                  <a:pt x="6031992" y="582930"/>
                </a:lnTo>
                <a:lnTo>
                  <a:pt x="6016752" y="581501"/>
                </a:lnTo>
                <a:lnTo>
                  <a:pt x="5986368" y="578644"/>
                </a:lnTo>
                <a:cubicBezTo>
                  <a:pt x="5976271" y="577596"/>
                  <a:pt x="5966079" y="577025"/>
                  <a:pt x="5955983" y="575501"/>
                </a:cubicBezTo>
                <a:lnTo>
                  <a:pt x="5925979" y="570357"/>
                </a:lnTo>
                <a:lnTo>
                  <a:pt x="5895975" y="565214"/>
                </a:lnTo>
                <a:cubicBezTo>
                  <a:pt x="5885974" y="563309"/>
                  <a:pt x="5876258" y="560356"/>
                  <a:pt x="5866352" y="557975"/>
                </a:cubicBezTo>
                <a:cubicBezTo>
                  <a:pt x="5787486" y="538829"/>
                  <a:pt x="5711571" y="507778"/>
                  <a:pt x="5642324" y="465773"/>
                </a:cubicBezTo>
                <a:cubicBezTo>
                  <a:pt x="5573078" y="423672"/>
                  <a:pt x="5510022" y="371285"/>
                  <a:pt x="5456397" y="310229"/>
                </a:cubicBezTo>
                <a:cubicBezTo>
                  <a:pt x="5429536" y="279749"/>
                  <a:pt x="5404961" y="247364"/>
                  <a:pt x="5382483" y="213551"/>
                </a:cubicBezTo>
                <a:cubicBezTo>
                  <a:pt x="5360575" y="179451"/>
                  <a:pt x="5340668" y="143923"/>
                  <a:pt x="5324475" y="107061"/>
                </a:cubicBezTo>
                <a:cubicBezTo>
                  <a:pt x="5321808" y="100775"/>
                  <a:pt x="5318760" y="94583"/>
                  <a:pt x="5316474" y="88202"/>
                </a:cubicBezTo>
                <a:lnTo>
                  <a:pt x="5305235" y="58484"/>
                </a:lnTo>
                <a:cubicBezTo>
                  <a:pt x="5305235" y="58484"/>
                  <a:pt x="5305044" y="58484"/>
                  <a:pt x="5304854" y="58388"/>
                </a:cubicBezTo>
                <a:lnTo>
                  <a:pt x="5289233" y="55626"/>
                </a:lnTo>
                <a:lnTo>
                  <a:pt x="5281994" y="54388"/>
                </a:lnTo>
                <a:lnTo>
                  <a:pt x="5277898" y="53816"/>
                </a:lnTo>
                <a:lnTo>
                  <a:pt x="5261420" y="51530"/>
                </a:lnTo>
                <a:cubicBezTo>
                  <a:pt x="5250466" y="50006"/>
                  <a:pt x="5239417" y="48863"/>
                  <a:pt x="5228463" y="47625"/>
                </a:cubicBezTo>
                <a:cubicBezTo>
                  <a:pt x="5217509" y="46387"/>
                  <a:pt x="5206461" y="45530"/>
                  <a:pt x="5195507" y="44577"/>
                </a:cubicBezTo>
                <a:lnTo>
                  <a:pt x="5162550" y="42196"/>
                </a:lnTo>
                <a:lnTo>
                  <a:pt x="5129594" y="40576"/>
                </a:lnTo>
                <a:cubicBezTo>
                  <a:pt x="5118640" y="39910"/>
                  <a:pt x="5107591" y="39910"/>
                  <a:pt x="5096542" y="39529"/>
                </a:cubicBezTo>
                <a:cubicBezTo>
                  <a:pt x="5074539" y="38767"/>
                  <a:pt x="5052536" y="39148"/>
                  <a:pt x="5030534" y="38957"/>
                </a:cubicBezTo>
                <a:lnTo>
                  <a:pt x="4975956" y="40386"/>
                </a:lnTo>
                <a:cubicBezTo>
                  <a:pt x="4957763" y="41339"/>
                  <a:pt x="4939570" y="42101"/>
                  <a:pt x="4921377" y="43244"/>
                </a:cubicBezTo>
                <a:lnTo>
                  <a:pt x="4866894" y="47625"/>
                </a:lnTo>
                <a:lnTo>
                  <a:pt x="4812602" y="53435"/>
                </a:lnTo>
                <a:cubicBezTo>
                  <a:pt x="4776502" y="58198"/>
                  <a:pt x="4740402" y="63151"/>
                  <a:pt x="4704588" y="69723"/>
                </a:cubicBezTo>
                <a:cubicBezTo>
                  <a:pt x="4686586" y="72581"/>
                  <a:pt x="4668774" y="76295"/>
                  <a:pt x="4650962" y="80010"/>
                </a:cubicBezTo>
                <a:cubicBezTo>
                  <a:pt x="4633151" y="83725"/>
                  <a:pt x="4615244" y="87154"/>
                  <a:pt x="4597623" y="91726"/>
                </a:cubicBezTo>
                <a:lnTo>
                  <a:pt x="4544568" y="104775"/>
                </a:lnTo>
                <a:lnTo>
                  <a:pt x="4491990" y="119634"/>
                </a:lnTo>
                <a:cubicBezTo>
                  <a:pt x="4474369" y="124301"/>
                  <a:pt x="4457224" y="130397"/>
                  <a:pt x="4439889" y="135922"/>
                </a:cubicBezTo>
                <a:cubicBezTo>
                  <a:pt x="4422648" y="141732"/>
                  <a:pt x="4405122" y="146780"/>
                  <a:pt x="4388168" y="153448"/>
                </a:cubicBezTo>
                <a:cubicBezTo>
                  <a:pt x="4371118" y="159734"/>
                  <a:pt x="4353973" y="166116"/>
                  <a:pt x="4336923" y="172403"/>
                </a:cubicBezTo>
                <a:cubicBezTo>
                  <a:pt x="4319874" y="178880"/>
                  <a:pt x="4303300" y="186309"/>
                  <a:pt x="4286441" y="193167"/>
                </a:cubicBezTo>
                <a:cubicBezTo>
                  <a:pt x="4252532" y="206597"/>
                  <a:pt x="4220051" y="223171"/>
                  <a:pt x="4186904" y="238316"/>
                </a:cubicBezTo>
                <a:cubicBezTo>
                  <a:pt x="4170522" y="246221"/>
                  <a:pt x="4154615" y="255080"/>
                  <a:pt x="4138422" y="263462"/>
                </a:cubicBezTo>
                <a:cubicBezTo>
                  <a:pt x="4122325" y="272034"/>
                  <a:pt x="4105942" y="280035"/>
                  <a:pt x="4090416" y="289560"/>
                </a:cubicBezTo>
                <a:cubicBezTo>
                  <a:pt x="4058984" y="308039"/>
                  <a:pt x="4027170" y="325850"/>
                  <a:pt x="3997071" y="346329"/>
                </a:cubicBezTo>
                <a:cubicBezTo>
                  <a:pt x="3981831" y="356330"/>
                  <a:pt x="3966401" y="366046"/>
                  <a:pt x="3951351" y="376238"/>
                </a:cubicBezTo>
                <a:cubicBezTo>
                  <a:pt x="3936587" y="386906"/>
                  <a:pt x="3921824" y="397478"/>
                  <a:pt x="3907060" y="408146"/>
                </a:cubicBezTo>
                <a:cubicBezTo>
                  <a:pt x="3877056" y="428816"/>
                  <a:pt x="3849243" y="452438"/>
                  <a:pt x="3820573" y="474917"/>
                </a:cubicBezTo>
                <a:cubicBezTo>
                  <a:pt x="3707702" y="567023"/>
                  <a:pt x="3605308" y="671703"/>
                  <a:pt x="3514439" y="785336"/>
                </a:cubicBezTo>
                <a:lnTo>
                  <a:pt x="3514439" y="785527"/>
                </a:lnTo>
                <a:cubicBezTo>
                  <a:pt x="3473291" y="836866"/>
                  <a:pt x="3435477" y="890302"/>
                  <a:pt x="3399377" y="944690"/>
                </a:cubicBezTo>
                <a:cubicBezTo>
                  <a:pt x="3363278" y="999173"/>
                  <a:pt x="3328988" y="1054608"/>
                  <a:pt x="3295460" y="1110329"/>
                </a:cubicBezTo>
                <a:cubicBezTo>
                  <a:pt x="3261932" y="1166146"/>
                  <a:pt x="3229261" y="1222248"/>
                  <a:pt x="3196685" y="1278446"/>
                </a:cubicBezTo>
                <a:cubicBezTo>
                  <a:pt x="3164015" y="1334453"/>
                  <a:pt x="3131249" y="1390460"/>
                  <a:pt x="3098578" y="1446467"/>
                </a:cubicBezTo>
                <a:cubicBezTo>
                  <a:pt x="3065526" y="1502188"/>
                  <a:pt x="3032189" y="1557719"/>
                  <a:pt x="2997803" y="1612487"/>
                </a:cubicBezTo>
                <a:cubicBezTo>
                  <a:pt x="2963418" y="1667256"/>
                  <a:pt x="2928080" y="1721453"/>
                  <a:pt x="2891600" y="1774698"/>
                </a:cubicBezTo>
                <a:cubicBezTo>
                  <a:pt x="2818733" y="1881378"/>
                  <a:pt x="2740247" y="1984058"/>
                  <a:pt x="2654999" y="2080736"/>
                </a:cubicBezTo>
                <a:cubicBezTo>
                  <a:pt x="2612231" y="2128933"/>
                  <a:pt x="2567845" y="2175701"/>
                  <a:pt x="2521839" y="2220659"/>
                </a:cubicBezTo>
                <a:cubicBezTo>
                  <a:pt x="2475452" y="2265331"/>
                  <a:pt x="2427351" y="2308098"/>
                  <a:pt x="2377631" y="2348960"/>
                </a:cubicBezTo>
                <a:cubicBezTo>
                  <a:pt x="2327720" y="2389537"/>
                  <a:pt x="2275808" y="2427637"/>
                  <a:pt x="2222754" y="2463927"/>
                </a:cubicBezTo>
                <a:cubicBezTo>
                  <a:pt x="2169224" y="2499646"/>
                  <a:pt x="2114264" y="2532983"/>
                  <a:pt x="2057876" y="2564035"/>
                </a:cubicBezTo>
                <a:cubicBezTo>
                  <a:pt x="1831848" y="2687288"/>
                  <a:pt x="1583436" y="2767108"/>
                  <a:pt x="1329404" y="2810542"/>
                </a:cubicBezTo>
                <a:cubicBezTo>
                  <a:pt x="1117283" y="2847308"/>
                  <a:pt x="901160" y="2858357"/>
                  <a:pt x="685800" y="2854833"/>
                </a:cubicBezTo>
                <a:lnTo>
                  <a:pt x="643128" y="2853404"/>
                </a:lnTo>
                <a:lnTo>
                  <a:pt x="589788" y="2851690"/>
                </a:lnTo>
                <a:cubicBezTo>
                  <a:pt x="568452" y="2850928"/>
                  <a:pt x="543592" y="2849213"/>
                  <a:pt x="515207" y="2847689"/>
                </a:cubicBezTo>
                <a:cubicBezTo>
                  <a:pt x="401574" y="2840927"/>
                  <a:pt x="231077" y="2826544"/>
                  <a:pt x="5715" y="2791873"/>
                </a:cubicBezTo>
                <a:lnTo>
                  <a:pt x="4286" y="2801302"/>
                </a:lnTo>
                <a:lnTo>
                  <a:pt x="2858" y="2810732"/>
                </a:lnTo>
                <a:lnTo>
                  <a:pt x="1429" y="2820162"/>
                </a:lnTo>
                <a:lnTo>
                  <a:pt x="0" y="2829592"/>
                </a:lnTo>
                <a:cubicBezTo>
                  <a:pt x="226790" y="2864549"/>
                  <a:pt x="398621" y="2879027"/>
                  <a:pt x="513112" y="2885789"/>
                </a:cubicBezTo>
                <a:cubicBezTo>
                  <a:pt x="541782" y="2887313"/>
                  <a:pt x="566833" y="2889123"/>
                  <a:pt x="588359" y="2889885"/>
                </a:cubicBezTo>
                <a:lnTo>
                  <a:pt x="642176" y="2891695"/>
                </a:lnTo>
                <a:lnTo>
                  <a:pt x="685229" y="2893124"/>
                </a:lnTo>
                <a:cubicBezTo>
                  <a:pt x="902684" y="2896648"/>
                  <a:pt x="1121093" y="2885599"/>
                  <a:pt x="1336072" y="2848356"/>
                </a:cubicBezTo>
                <a:cubicBezTo>
                  <a:pt x="1593533" y="2804446"/>
                  <a:pt x="1846136" y="2723293"/>
                  <a:pt x="2076355" y="2597753"/>
                </a:cubicBezTo>
                <a:cubicBezTo>
                  <a:pt x="2133695" y="2566131"/>
                  <a:pt x="2189798" y="2532126"/>
                  <a:pt x="2244185" y="2495836"/>
                </a:cubicBezTo>
                <a:cubicBezTo>
                  <a:pt x="2298287" y="2458974"/>
                  <a:pt x="2351056" y="2420112"/>
                  <a:pt x="2401919" y="2378869"/>
                </a:cubicBezTo>
                <a:cubicBezTo>
                  <a:pt x="2452497" y="2337340"/>
                  <a:pt x="2501456" y="2293811"/>
                  <a:pt x="2548604" y="2248376"/>
                </a:cubicBezTo>
                <a:cubicBezTo>
                  <a:pt x="2595467" y="2202656"/>
                  <a:pt x="2640521" y="2155222"/>
                  <a:pt x="2683859" y="2106359"/>
                </a:cubicBezTo>
                <a:cubicBezTo>
                  <a:pt x="2770251" y="2008251"/>
                  <a:pt x="2849690" y="1904238"/>
                  <a:pt x="2923318" y="1796606"/>
                </a:cubicBezTo>
                <a:cubicBezTo>
                  <a:pt x="2960180" y="1742789"/>
                  <a:pt x="2995803" y="1688211"/>
                  <a:pt x="3030379" y="1633061"/>
                </a:cubicBezTo>
                <a:cubicBezTo>
                  <a:pt x="3064955" y="1577912"/>
                  <a:pt x="3098578" y="1522190"/>
                  <a:pt x="3131630" y="1466183"/>
                </a:cubicBezTo>
                <a:cubicBezTo>
                  <a:pt x="3164396" y="1410081"/>
                  <a:pt x="3197162" y="1353979"/>
                  <a:pt x="3229928" y="1297972"/>
                </a:cubicBezTo>
                <a:cubicBezTo>
                  <a:pt x="3262503" y="1241870"/>
                  <a:pt x="3295174" y="1185863"/>
                  <a:pt x="3328416" y="1130332"/>
                </a:cubicBezTo>
                <a:cubicBezTo>
                  <a:pt x="3361754" y="1074896"/>
                  <a:pt x="3395758" y="1019842"/>
                  <a:pt x="3431381" y="966121"/>
                </a:cubicBezTo>
                <a:cubicBezTo>
                  <a:pt x="3467005" y="912400"/>
                  <a:pt x="3504248" y="859822"/>
                  <a:pt x="3544348" y="809720"/>
                </a:cubicBezTo>
                <a:lnTo>
                  <a:pt x="3544348" y="809530"/>
                </a:lnTo>
                <a:cubicBezTo>
                  <a:pt x="3633788" y="697802"/>
                  <a:pt x="3734372" y="595122"/>
                  <a:pt x="3844957" y="504730"/>
                </a:cubicBezTo>
                <a:cubicBezTo>
                  <a:pt x="3873056" y="482727"/>
                  <a:pt x="3900297" y="459486"/>
                  <a:pt x="3929729" y="439293"/>
                </a:cubicBezTo>
                <a:cubicBezTo>
                  <a:pt x="3944207" y="428816"/>
                  <a:pt x="3958685" y="418433"/>
                  <a:pt x="3973164" y="407956"/>
                </a:cubicBezTo>
                <a:cubicBezTo>
                  <a:pt x="3987927" y="397954"/>
                  <a:pt x="4003072" y="388429"/>
                  <a:pt x="4017931" y="378619"/>
                </a:cubicBezTo>
                <a:cubicBezTo>
                  <a:pt x="4047458" y="358521"/>
                  <a:pt x="4078700" y="341090"/>
                  <a:pt x="4109466" y="322993"/>
                </a:cubicBezTo>
                <a:cubicBezTo>
                  <a:pt x="4124706" y="313658"/>
                  <a:pt x="4140708" y="305848"/>
                  <a:pt x="4156520" y="297371"/>
                </a:cubicBezTo>
                <a:cubicBezTo>
                  <a:pt x="4172331" y="289179"/>
                  <a:pt x="4187952" y="280511"/>
                  <a:pt x="4204050" y="272701"/>
                </a:cubicBezTo>
                <a:cubicBezTo>
                  <a:pt x="4236530" y="257842"/>
                  <a:pt x="4268343" y="241554"/>
                  <a:pt x="4301585" y="228409"/>
                </a:cubicBezTo>
                <a:cubicBezTo>
                  <a:pt x="4318064" y="221647"/>
                  <a:pt x="4334447" y="214408"/>
                  <a:pt x="4351116" y="208026"/>
                </a:cubicBezTo>
                <a:cubicBezTo>
                  <a:pt x="4367879" y="201835"/>
                  <a:pt x="4384643" y="195644"/>
                  <a:pt x="4401312" y="189452"/>
                </a:cubicBezTo>
                <a:cubicBezTo>
                  <a:pt x="4417981" y="182975"/>
                  <a:pt x="4435126" y="177927"/>
                  <a:pt x="4451985" y="172307"/>
                </a:cubicBezTo>
                <a:cubicBezTo>
                  <a:pt x="4469035" y="166878"/>
                  <a:pt x="4485799" y="160877"/>
                  <a:pt x="4503134" y="156305"/>
                </a:cubicBezTo>
                <a:lnTo>
                  <a:pt x="4554665" y="141732"/>
                </a:lnTo>
                <a:lnTo>
                  <a:pt x="4606671" y="128969"/>
                </a:lnTo>
                <a:cubicBezTo>
                  <a:pt x="4623911" y="124492"/>
                  <a:pt x="4641533" y="121158"/>
                  <a:pt x="4658964" y="117539"/>
                </a:cubicBezTo>
                <a:cubicBezTo>
                  <a:pt x="4676394" y="113824"/>
                  <a:pt x="4693920" y="110204"/>
                  <a:pt x="4711542" y="107442"/>
                </a:cubicBezTo>
                <a:cubicBezTo>
                  <a:pt x="4746689" y="100965"/>
                  <a:pt x="4782026" y="96107"/>
                  <a:pt x="4817459" y="91440"/>
                </a:cubicBezTo>
                <a:lnTo>
                  <a:pt x="4870704" y="85725"/>
                </a:lnTo>
                <a:lnTo>
                  <a:pt x="4924140" y="81439"/>
                </a:lnTo>
                <a:cubicBezTo>
                  <a:pt x="4941951" y="80296"/>
                  <a:pt x="4959763" y="79534"/>
                  <a:pt x="4977670" y="78581"/>
                </a:cubicBezTo>
                <a:lnTo>
                  <a:pt x="5031201" y="77153"/>
                </a:lnTo>
                <a:cubicBezTo>
                  <a:pt x="5052727" y="77248"/>
                  <a:pt x="5074349" y="76867"/>
                  <a:pt x="5095875" y="77724"/>
                </a:cubicBezTo>
                <a:cubicBezTo>
                  <a:pt x="5106638" y="78010"/>
                  <a:pt x="5117402" y="78105"/>
                  <a:pt x="5128165" y="78772"/>
                </a:cubicBezTo>
                <a:lnTo>
                  <a:pt x="5160455" y="80391"/>
                </a:lnTo>
                <a:lnTo>
                  <a:pt x="5192649" y="82677"/>
                </a:lnTo>
                <a:cubicBezTo>
                  <a:pt x="5203317" y="83725"/>
                  <a:pt x="5214081" y="84487"/>
                  <a:pt x="5224749" y="85725"/>
                </a:cubicBezTo>
                <a:cubicBezTo>
                  <a:pt x="5235417" y="86868"/>
                  <a:pt x="5246084" y="88011"/>
                  <a:pt x="5256657" y="89535"/>
                </a:cubicBezTo>
                <a:lnTo>
                  <a:pt x="5272469" y="91726"/>
                </a:lnTo>
                <a:lnTo>
                  <a:pt x="5277612" y="92488"/>
                </a:lnTo>
                <a:lnTo>
                  <a:pt x="5277612" y="92488"/>
                </a:lnTo>
                <a:cubicBezTo>
                  <a:pt x="5278851" y="95726"/>
                  <a:pt x="5280089" y="99060"/>
                  <a:pt x="5281327" y="102394"/>
                </a:cubicBezTo>
                <a:cubicBezTo>
                  <a:pt x="5283804" y="109347"/>
                  <a:pt x="5287042" y="115824"/>
                  <a:pt x="5289804" y="122587"/>
                </a:cubicBezTo>
                <a:cubicBezTo>
                  <a:pt x="5307045" y="161734"/>
                  <a:pt x="5327904" y="198882"/>
                  <a:pt x="5350859" y="234601"/>
                </a:cubicBezTo>
                <a:cubicBezTo>
                  <a:pt x="5374387" y="269939"/>
                  <a:pt x="5400008" y="303848"/>
                  <a:pt x="5428107" y="335661"/>
                </a:cubicBezTo>
                <a:cubicBezTo>
                  <a:pt x="5484209" y="399383"/>
                  <a:pt x="5550313" y="454343"/>
                  <a:pt x="5622893" y="498539"/>
                </a:cubicBezTo>
                <a:cubicBezTo>
                  <a:pt x="5695569" y="542639"/>
                  <a:pt x="5775198" y="575120"/>
                  <a:pt x="5857590" y="595217"/>
                </a:cubicBezTo>
                <a:cubicBezTo>
                  <a:pt x="5867877" y="597694"/>
                  <a:pt x="5878068" y="600742"/>
                  <a:pt x="5888546" y="602742"/>
                </a:cubicBezTo>
                <a:lnTo>
                  <a:pt x="5919883" y="608171"/>
                </a:lnTo>
                <a:lnTo>
                  <a:pt x="5951221" y="613505"/>
                </a:lnTo>
                <a:cubicBezTo>
                  <a:pt x="5961698" y="615125"/>
                  <a:pt x="5972270" y="615696"/>
                  <a:pt x="5982843" y="616744"/>
                </a:cubicBezTo>
                <a:lnTo>
                  <a:pt x="6014466" y="619697"/>
                </a:lnTo>
                <a:lnTo>
                  <a:pt x="6030278" y="621125"/>
                </a:lnTo>
                <a:lnTo>
                  <a:pt x="6046089" y="621411"/>
                </a:lnTo>
                <a:lnTo>
                  <a:pt x="6109526" y="622459"/>
                </a:lnTo>
                <a:cubicBezTo>
                  <a:pt x="6151817" y="619792"/>
                  <a:pt x="6194298" y="618935"/>
                  <a:pt x="6236113" y="612362"/>
                </a:cubicBezTo>
                <a:lnTo>
                  <a:pt x="6267545" y="608362"/>
                </a:lnTo>
                <a:cubicBezTo>
                  <a:pt x="6272784" y="607695"/>
                  <a:pt x="6278023" y="607124"/>
                  <a:pt x="6283262" y="606266"/>
                </a:cubicBezTo>
                <a:lnTo>
                  <a:pt x="6298788" y="603218"/>
                </a:lnTo>
                <a:lnTo>
                  <a:pt x="6360986" y="591026"/>
                </a:lnTo>
                <a:cubicBezTo>
                  <a:pt x="6366129" y="589979"/>
                  <a:pt x="6371368" y="589026"/>
                  <a:pt x="6376511" y="587883"/>
                </a:cubicBezTo>
                <a:lnTo>
                  <a:pt x="6391847" y="583883"/>
                </a:lnTo>
                <a:lnTo>
                  <a:pt x="6422422" y="575882"/>
                </a:lnTo>
                <a:lnTo>
                  <a:pt x="6452997" y="567785"/>
                </a:lnTo>
                <a:cubicBezTo>
                  <a:pt x="6463189" y="565023"/>
                  <a:pt x="6473476" y="562642"/>
                  <a:pt x="6483382" y="559118"/>
                </a:cubicBezTo>
                <a:cubicBezTo>
                  <a:pt x="6503384" y="552545"/>
                  <a:pt x="6523387" y="545973"/>
                  <a:pt x="6543390" y="539401"/>
                </a:cubicBezTo>
                <a:lnTo>
                  <a:pt x="6573393" y="529590"/>
                </a:lnTo>
                <a:cubicBezTo>
                  <a:pt x="6583299" y="526066"/>
                  <a:pt x="6593014" y="521970"/>
                  <a:pt x="6602826" y="518255"/>
                </a:cubicBezTo>
                <a:cubicBezTo>
                  <a:pt x="6641878" y="502634"/>
                  <a:pt x="6681597" y="488633"/>
                  <a:pt x="6719507" y="470440"/>
                </a:cubicBezTo>
                <a:cubicBezTo>
                  <a:pt x="6738652" y="461772"/>
                  <a:pt x="6757797" y="453104"/>
                  <a:pt x="6776943" y="444437"/>
                </a:cubicBezTo>
                <a:cubicBezTo>
                  <a:pt x="6796278" y="436150"/>
                  <a:pt x="6814757" y="426149"/>
                  <a:pt x="6833426" y="416719"/>
                </a:cubicBezTo>
                <a:cubicBezTo>
                  <a:pt x="6852095" y="407194"/>
                  <a:pt x="6870764" y="397574"/>
                  <a:pt x="6889433" y="388049"/>
                </a:cubicBezTo>
                <a:cubicBezTo>
                  <a:pt x="6898767" y="383191"/>
                  <a:pt x="6908197" y="378619"/>
                  <a:pt x="6917341" y="373571"/>
                </a:cubicBezTo>
                <a:lnTo>
                  <a:pt x="6944678" y="358045"/>
                </a:lnTo>
                <a:lnTo>
                  <a:pt x="6999256" y="326898"/>
                </a:lnTo>
                <a:cubicBezTo>
                  <a:pt x="7017354" y="316325"/>
                  <a:pt x="7035927" y="306515"/>
                  <a:pt x="7053453" y="295085"/>
                </a:cubicBezTo>
                <a:cubicBezTo>
                  <a:pt x="7053453" y="295085"/>
                  <a:pt x="7086505" y="274320"/>
                  <a:pt x="7152704" y="232886"/>
                </a:cubicBezTo>
                <a:cubicBezTo>
                  <a:pt x="7169468" y="222885"/>
                  <a:pt x="7187184" y="209836"/>
                  <a:pt x="7207472" y="196310"/>
                </a:cubicBezTo>
                <a:cubicBezTo>
                  <a:pt x="7227571" y="182594"/>
                  <a:pt x="7249763" y="167450"/>
                  <a:pt x="7273957" y="150971"/>
                </a:cubicBezTo>
                <a:cubicBezTo>
                  <a:pt x="7298437" y="134874"/>
                  <a:pt x="7323677" y="115729"/>
                  <a:pt x="7351205" y="95631"/>
                </a:cubicBezTo>
                <a:cubicBezTo>
                  <a:pt x="7378637" y="75438"/>
                  <a:pt x="7408164" y="53816"/>
                  <a:pt x="7439502" y="30671"/>
                </a:cubicBezTo>
                <a:close/>
              </a:path>
            </a:pathLst>
          </a:custGeom>
          <a:gradFill>
            <a:gsLst>
              <a:gs pos="93000">
                <a:schemeClr val="accent2">
                  <a:alpha val="0"/>
                </a:schemeClr>
              </a:gs>
              <a:gs pos="17000">
                <a:schemeClr val="accent2">
                  <a:alpha val="0"/>
                </a:schemeClr>
              </a:gs>
              <a:gs pos="72000">
                <a:schemeClr val="accent2"/>
              </a:gs>
              <a:gs pos="38000">
                <a:schemeClr val="accent2"/>
              </a:gs>
            </a:gsLst>
            <a:lin ang="0" scaled="1"/>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235138785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Full Picture White Spade">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9515EF69-611F-4B2F-BC64-DD310E600154}"/>
              </a:ext>
            </a:extLst>
          </p:cNvPr>
          <p:cNvSpPr>
            <a:spLocks noGrp="1"/>
          </p:cNvSpPr>
          <p:nvPr>
            <p:ph type="pic" sz="quarter" idx="10" hasCustomPrompt="1"/>
          </p:nvPr>
        </p:nvSpPr>
        <p:spPr>
          <a:xfrm>
            <a:off x="0" y="2708920"/>
            <a:ext cx="7968207" cy="2949857"/>
          </a:xfrm>
          <a:prstGeom prst="rect">
            <a:avLst/>
          </a:prstGeom>
          <a:solidFill>
            <a:schemeClr val="accent4"/>
          </a:solidFill>
        </p:spPr>
        <p:txBody>
          <a:bodyPr wrap="square">
            <a:no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50000"/>
                  </a:schemeClr>
                </a:solidFill>
              </a:defRPr>
            </a:lvl1pPr>
          </a:lstStyle>
          <a:p>
            <a:r>
              <a:rPr lang="en-US"/>
              <a:t>Click icon to add picture and send picture to back</a:t>
            </a:r>
          </a:p>
        </p:txBody>
      </p:sp>
      <p:sp>
        <p:nvSpPr>
          <p:cNvPr id="2" name="Title">
            <a:extLst>
              <a:ext uri="{FF2B5EF4-FFF2-40B4-BE49-F238E27FC236}">
                <a16:creationId xmlns:a16="http://schemas.microsoft.com/office/drawing/2014/main" id="{F7412FBE-22A2-10A4-80F8-94BD980CE061}"/>
              </a:ext>
            </a:extLst>
          </p:cNvPr>
          <p:cNvSpPr>
            <a:spLocks noGrp="1"/>
          </p:cNvSpPr>
          <p:nvPr>
            <p:ph type="ctrTitle" hasCustomPrompt="1"/>
          </p:nvPr>
        </p:nvSpPr>
        <p:spPr>
          <a:xfrm>
            <a:off x="407368" y="1475161"/>
            <a:ext cx="7560840" cy="609398"/>
          </a:xfrm>
          <a:noFill/>
        </p:spPr>
        <p:txBody>
          <a:bodyPr wrap="square" lIns="0" tIns="0" rIns="0" bIns="0" anchor="b" anchorCtr="0">
            <a:spAutoFit/>
          </a:bodyPr>
          <a:lstStyle>
            <a:lvl1pPr algn="l">
              <a:lnSpc>
                <a:spcPct val="90000"/>
              </a:lnSpc>
              <a:tabLst>
                <a:tab pos="1258888" algn="l"/>
              </a:tabLst>
              <a:defRPr sz="4400" b="0" cap="none" baseline="0">
                <a:solidFill>
                  <a:schemeClr val="tx1"/>
                </a:solidFill>
                <a:latin typeface="+mj-lt"/>
              </a:defRPr>
            </a:lvl1pPr>
          </a:lstStyle>
          <a:p>
            <a:pPr lvl="0"/>
            <a:r>
              <a:rPr lang="en-US"/>
              <a:t>Insert Subsection title</a:t>
            </a:r>
          </a:p>
        </p:txBody>
      </p:sp>
      <p:sp>
        <p:nvSpPr>
          <p:cNvPr id="3" name="Subtitle">
            <a:extLst>
              <a:ext uri="{FF2B5EF4-FFF2-40B4-BE49-F238E27FC236}">
                <a16:creationId xmlns:a16="http://schemas.microsoft.com/office/drawing/2014/main" id="{B3FCD38E-1F71-EA8E-7048-F655798886D1}"/>
              </a:ext>
            </a:extLst>
          </p:cNvPr>
          <p:cNvSpPr>
            <a:spLocks noGrp="1"/>
          </p:cNvSpPr>
          <p:nvPr>
            <p:ph type="subTitle" idx="1" hasCustomPrompt="1"/>
          </p:nvPr>
        </p:nvSpPr>
        <p:spPr>
          <a:xfrm>
            <a:off x="407368" y="2200346"/>
            <a:ext cx="7273330" cy="246221"/>
          </a:xfrm>
          <a:prstGeom prst="rect">
            <a:avLst/>
          </a:prstGeom>
        </p:spPr>
        <p:txBody>
          <a:bodyPr wrap="square" lIns="18000" tIns="0" rIns="0" anchor="t" anchorCtr="0">
            <a:spAutoFit/>
          </a:bodyPr>
          <a:lstStyle>
            <a:lvl1pPr marL="0" indent="0" algn="l">
              <a:buNone/>
              <a:defRPr sz="1600">
                <a:solidFill>
                  <a:schemeClr val="tx1"/>
                </a:solidFill>
                <a:latin typeface="Ubuntu" panose="020B05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text style</a:t>
            </a:r>
            <a:endParaRPr lang="en-GB"/>
          </a:p>
        </p:txBody>
      </p:sp>
      <p:grpSp>
        <p:nvGrpSpPr>
          <p:cNvPr id="6" name="Groupe 1">
            <a:extLst>
              <a:ext uri="{FF2B5EF4-FFF2-40B4-BE49-F238E27FC236}">
                <a16:creationId xmlns:a16="http://schemas.microsoft.com/office/drawing/2014/main" id="{B8C26A49-08C0-4B7F-ECBB-8B3970C72374}"/>
              </a:ext>
            </a:extLst>
          </p:cNvPr>
          <p:cNvGrpSpPr/>
          <p:nvPr userDrawn="1"/>
        </p:nvGrpSpPr>
        <p:grpSpPr>
          <a:xfrm>
            <a:off x="11501102" y="171573"/>
            <a:ext cx="419436" cy="388988"/>
            <a:chOff x="11501102" y="171573"/>
            <a:chExt cx="419436" cy="388988"/>
          </a:xfrm>
        </p:grpSpPr>
        <p:sp>
          <p:nvSpPr>
            <p:cNvPr id="7" name="Freeform 13">
              <a:extLst>
                <a:ext uri="{FF2B5EF4-FFF2-40B4-BE49-F238E27FC236}">
                  <a16:creationId xmlns:a16="http://schemas.microsoft.com/office/drawing/2014/main" id="{3D2E0AA1-FC8F-D581-7395-6B7D6D74F17D}"/>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1635BFD0-A218-D18E-AB13-44B9751332DD}"/>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275343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9_Full Picture White Spade">
    <p:bg>
      <p:bgPr>
        <a:solidFill>
          <a:schemeClr val="accent4"/>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9515EF69-611F-4B2F-BC64-DD310E600154}"/>
              </a:ext>
            </a:extLst>
          </p:cNvPr>
          <p:cNvSpPr>
            <a:spLocks noGrp="1"/>
          </p:cNvSpPr>
          <p:nvPr>
            <p:ph type="pic" sz="quarter" idx="10" hasCustomPrompt="1"/>
          </p:nvPr>
        </p:nvSpPr>
        <p:spPr>
          <a:xfrm>
            <a:off x="0" y="2708920"/>
            <a:ext cx="7968207" cy="2949857"/>
          </a:xfrm>
          <a:prstGeom prst="rect">
            <a:avLst/>
          </a:prstGeom>
          <a:solidFill>
            <a:schemeClr val="accent4"/>
          </a:solidFill>
        </p:spPr>
        <p:txBody>
          <a:bodyPr wrap="square">
            <a:no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50000"/>
                  </a:schemeClr>
                </a:solidFill>
              </a:defRPr>
            </a:lvl1pPr>
          </a:lstStyle>
          <a:p>
            <a:r>
              <a:rPr lang="en-US"/>
              <a:t>Click icon to add picture and send picture to back</a:t>
            </a:r>
          </a:p>
        </p:txBody>
      </p:sp>
      <p:sp>
        <p:nvSpPr>
          <p:cNvPr id="2" name="Title">
            <a:extLst>
              <a:ext uri="{FF2B5EF4-FFF2-40B4-BE49-F238E27FC236}">
                <a16:creationId xmlns:a16="http://schemas.microsoft.com/office/drawing/2014/main" id="{F7412FBE-22A2-10A4-80F8-94BD980CE061}"/>
              </a:ext>
            </a:extLst>
          </p:cNvPr>
          <p:cNvSpPr>
            <a:spLocks noGrp="1"/>
          </p:cNvSpPr>
          <p:nvPr>
            <p:ph type="ctrTitle" hasCustomPrompt="1"/>
          </p:nvPr>
        </p:nvSpPr>
        <p:spPr>
          <a:xfrm>
            <a:off x="407368" y="1475161"/>
            <a:ext cx="7560840" cy="609398"/>
          </a:xfrm>
          <a:noFill/>
        </p:spPr>
        <p:txBody>
          <a:bodyPr wrap="square" lIns="0" tIns="0" rIns="0" bIns="0" anchor="b" anchorCtr="0">
            <a:spAutoFit/>
          </a:bodyPr>
          <a:lstStyle>
            <a:lvl1pPr algn="l">
              <a:lnSpc>
                <a:spcPct val="90000"/>
              </a:lnSpc>
              <a:tabLst>
                <a:tab pos="1258888" algn="l"/>
              </a:tabLst>
              <a:defRPr sz="4400" b="0" cap="none" baseline="0">
                <a:solidFill>
                  <a:schemeClr val="bg1"/>
                </a:solidFill>
                <a:latin typeface="+mj-lt"/>
              </a:defRPr>
            </a:lvl1pPr>
          </a:lstStyle>
          <a:p>
            <a:pPr lvl="0"/>
            <a:r>
              <a:rPr lang="en-US"/>
              <a:t>Insert Subsection title</a:t>
            </a:r>
          </a:p>
        </p:txBody>
      </p:sp>
      <p:sp>
        <p:nvSpPr>
          <p:cNvPr id="3" name="Subtitle">
            <a:extLst>
              <a:ext uri="{FF2B5EF4-FFF2-40B4-BE49-F238E27FC236}">
                <a16:creationId xmlns:a16="http://schemas.microsoft.com/office/drawing/2014/main" id="{B3FCD38E-1F71-EA8E-7048-F655798886D1}"/>
              </a:ext>
            </a:extLst>
          </p:cNvPr>
          <p:cNvSpPr>
            <a:spLocks noGrp="1"/>
          </p:cNvSpPr>
          <p:nvPr>
            <p:ph type="subTitle" idx="1" hasCustomPrompt="1"/>
          </p:nvPr>
        </p:nvSpPr>
        <p:spPr>
          <a:xfrm>
            <a:off x="407368" y="2200346"/>
            <a:ext cx="7273330" cy="246221"/>
          </a:xfrm>
          <a:prstGeom prst="rect">
            <a:avLst/>
          </a:prstGeom>
        </p:spPr>
        <p:txBody>
          <a:bodyPr wrap="square" lIns="18000" tIns="0" rIns="0" anchor="t" anchorCtr="0">
            <a:spAutoFit/>
          </a:bodyPr>
          <a:lstStyle>
            <a:lvl1pPr marL="0" indent="0" algn="l">
              <a:buNone/>
              <a:defRPr sz="1600">
                <a:solidFill>
                  <a:schemeClr val="bg1"/>
                </a:solidFill>
                <a:latin typeface="Ubuntu" panose="020B05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text style</a:t>
            </a:r>
            <a:endParaRPr lang="en-GB"/>
          </a:p>
        </p:txBody>
      </p:sp>
      <p:grpSp>
        <p:nvGrpSpPr>
          <p:cNvPr id="6" name="Groupe 1">
            <a:extLst>
              <a:ext uri="{FF2B5EF4-FFF2-40B4-BE49-F238E27FC236}">
                <a16:creationId xmlns:a16="http://schemas.microsoft.com/office/drawing/2014/main" id="{B8C26A49-08C0-4B7F-ECBB-8B3970C72374}"/>
              </a:ext>
            </a:extLst>
          </p:cNvPr>
          <p:cNvGrpSpPr/>
          <p:nvPr userDrawn="1"/>
        </p:nvGrpSpPr>
        <p:grpSpPr>
          <a:xfrm>
            <a:off x="11501102" y="171573"/>
            <a:ext cx="419436" cy="388988"/>
            <a:chOff x="11501102" y="171573"/>
            <a:chExt cx="419436" cy="388988"/>
          </a:xfrm>
        </p:grpSpPr>
        <p:sp>
          <p:nvSpPr>
            <p:cNvPr id="7" name="Freeform 13">
              <a:extLst>
                <a:ext uri="{FF2B5EF4-FFF2-40B4-BE49-F238E27FC236}">
                  <a16:creationId xmlns:a16="http://schemas.microsoft.com/office/drawing/2014/main" id="{3D2E0AA1-FC8F-D581-7395-6B7D6D74F17D}"/>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1635BFD0-A218-D18E-AB13-44B9751332DD}"/>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8296587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6_Full Picture White Spade">
    <p:bg>
      <p:bgPr>
        <a:solidFill>
          <a:schemeClr val="accent4"/>
        </a:solidFill>
        <a:effectLst/>
      </p:bgPr>
    </p:bg>
    <p:spTree>
      <p:nvGrpSpPr>
        <p:cNvPr id="1" name=""/>
        <p:cNvGrpSpPr/>
        <p:nvPr/>
      </p:nvGrpSpPr>
      <p:grpSpPr>
        <a:xfrm>
          <a:off x="0" y="0"/>
          <a:ext cx="0" cy="0"/>
          <a:chOff x="0" y="0"/>
          <a:chExt cx="0" cy="0"/>
        </a:xfrm>
      </p:grpSpPr>
      <p:grpSp>
        <p:nvGrpSpPr>
          <p:cNvPr id="12" name="Group 37">
            <a:extLst>
              <a:ext uri="{FF2B5EF4-FFF2-40B4-BE49-F238E27FC236}">
                <a16:creationId xmlns:a16="http://schemas.microsoft.com/office/drawing/2014/main" id="{410EED03-E568-4797-9F93-83A0DEAA8E73}"/>
              </a:ext>
            </a:extLst>
          </p:cNvPr>
          <p:cNvGrpSpPr/>
          <p:nvPr userDrawn="1"/>
        </p:nvGrpSpPr>
        <p:grpSpPr>
          <a:xfrm>
            <a:off x="11562864" y="207688"/>
            <a:ext cx="418487" cy="387209"/>
            <a:chOff x="5481638" y="2859088"/>
            <a:chExt cx="1231900" cy="1139825"/>
          </a:xfrm>
          <a:solidFill>
            <a:schemeClr val="bg1"/>
          </a:solidFill>
        </p:grpSpPr>
        <p:sp>
          <p:nvSpPr>
            <p:cNvPr id="13" name="Freeform 320">
              <a:extLst>
                <a:ext uri="{FF2B5EF4-FFF2-40B4-BE49-F238E27FC236}">
                  <a16:creationId xmlns:a16="http://schemas.microsoft.com/office/drawing/2014/main" id="{B7BDD3A5-74DC-407F-917E-4CAA2D7F6478}"/>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321">
              <a:extLst>
                <a:ext uri="{FF2B5EF4-FFF2-40B4-BE49-F238E27FC236}">
                  <a16:creationId xmlns:a16="http://schemas.microsoft.com/office/drawing/2014/main" id="{AFD49D75-8E14-497D-BFBC-1AB7413E4B59}"/>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a:extLst>
              <a:ext uri="{FF2B5EF4-FFF2-40B4-BE49-F238E27FC236}">
                <a16:creationId xmlns:a16="http://schemas.microsoft.com/office/drawing/2014/main" id="{F7412FBE-22A2-10A4-80F8-94BD980CE061}"/>
              </a:ext>
            </a:extLst>
          </p:cNvPr>
          <p:cNvSpPr>
            <a:spLocks noGrp="1"/>
          </p:cNvSpPr>
          <p:nvPr>
            <p:ph type="ctrTitle" hasCustomPrompt="1"/>
          </p:nvPr>
        </p:nvSpPr>
        <p:spPr>
          <a:xfrm>
            <a:off x="1" y="2708920"/>
            <a:ext cx="7968207" cy="2949857"/>
          </a:xfrm>
          <a:solidFill>
            <a:schemeClr val="bg2"/>
          </a:solidFill>
        </p:spPr>
        <p:txBody>
          <a:bodyPr wrap="square" lIns="396000" tIns="360000" rIns="504000" bIns="1080000" anchor="b" anchorCtr="0">
            <a:noAutofit/>
          </a:bodyPr>
          <a:lstStyle>
            <a:lvl1pPr algn="l">
              <a:lnSpc>
                <a:spcPct val="90000"/>
              </a:lnSpc>
              <a:tabLst>
                <a:tab pos="1258888" algn="l"/>
              </a:tabLst>
              <a:defRPr sz="4400" b="0" cap="none" baseline="0">
                <a:solidFill>
                  <a:schemeClr val="tx1"/>
                </a:solidFill>
                <a:latin typeface="+mj-lt"/>
              </a:defRPr>
            </a:lvl1pPr>
          </a:lstStyle>
          <a:p>
            <a:r>
              <a:rPr lang="en-US"/>
              <a:t>Insert Divider title</a:t>
            </a:r>
            <a:endParaRPr lang="en-GB"/>
          </a:p>
        </p:txBody>
      </p:sp>
      <p:sp>
        <p:nvSpPr>
          <p:cNvPr id="3" name="Subtitle">
            <a:extLst>
              <a:ext uri="{FF2B5EF4-FFF2-40B4-BE49-F238E27FC236}">
                <a16:creationId xmlns:a16="http://schemas.microsoft.com/office/drawing/2014/main" id="{B3FCD38E-1F71-EA8E-7048-F655798886D1}"/>
              </a:ext>
            </a:extLst>
          </p:cNvPr>
          <p:cNvSpPr>
            <a:spLocks noGrp="1"/>
          </p:cNvSpPr>
          <p:nvPr>
            <p:ph type="subTitle" idx="1" hasCustomPrompt="1"/>
          </p:nvPr>
        </p:nvSpPr>
        <p:spPr>
          <a:xfrm>
            <a:off x="407368" y="4725144"/>
            <a:ext cx="7273330" cy="246221"/>
          </a:xfrm>
          <a:prstGeom prst="rect">
            <a:avLst/>
          </a:prstGeom>
        </p:spPr>
        <p:txBody>
          <a:bodyPr wrap="square" lIns="18000" tIns="0" rIns="0" anchor="t" anchorCtr="0">
            <a:spAutoFit/>
          </a:bodyPr>
          <a:lstStyle>
            <a:lvl1pPr marL="0" indent="0" algn="l">
              <a:buNone/>
              <a:defRPr sz="1600">
                <a:solidFill>
                  <a:schemeClr val="tx1"/>
                </a:solidFill>
                <a:latin typeface="Ubuntu" panose="020B05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text style</a:t>
            </a:r>
            <a:endParaRPr lang="en-GB"/>
          </a:p>
        </p:txBody>
      </p:sp>
      <p:sp>
        <p:nvSpPr>
          <p:cNvPr id="5" name="Graphic 13">
            <a:extLst>
              <a:ext uri="{FF2B5EF4-FFF2-40B4-BE49-F238E27FC236}">
                <a16:creationId xmlns:a16="http://schemas.microsoft.com/office/drawing/2014/main" id="{CF4CDC5C-93C3-DD14-AE50-79BD8533FBDC}"/>
              </a:ext>
            </a:extLst>
          </p:cNvPr>
          <p:cNvSpPr>
            <a:spLocks noChangeAspect="1"/>
          </p:cNvSpPr>
          <p:nvPr userDrawn="1"/>
        </p:nvSpPr>
        <p:spPr>
          <a:xfrm rot="20991934">
            <a:off x="3672117" y="2233051"/>
            <a:ext cx="8831893" cy="5793514"/>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23000">
                <a:schemeClr val="accent2">
                  <a:alpha val="0"/>
                </a:schemeClr>
              </a:gs>
              <a:gs pos="39000">
                <a:srgbClr val="12ABDB"/>
              </a:gs>
              <a:gs pos="62000">
                <a:srgbClr val="12ABDB"/>
              </a:gs>
              <a:gs pos="73000">
                <a:schemeClr val="accent2"/>
              </a:gs>
            </a:gsLst>
            <a:lin ang="16200000" scaled="0"/>
          </a:gradFill>
          <a:ln w="9525" cap="flat">
            <a:noFill/>
            <a:prstDash val="solid"/>
            <a:miter/>
          </a:ln>
        </p:spPr>
        <p:txBody>
          <a:bodyPr rtlCol="0" anchor="ctr"/>
          <a:lstStyle/>
          <a:p>
            <a:endParaRPr lang="de-DE"/>
          </a:p>
        </p:txBody>
      </p:sp>
    </p:spTree>
    <p:extLst>
      <p:ext uri="{BB962C8B-B14F-4D97-AF65-F5344CB8AC3E}">
        <p14:creationId xmlns:p14="http://schemas.microsoft.com/office/powerpoint/2010/main" val="11710600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Final Slide dark">
    <p:bg>
      <p:bgPr>
        <a:solidFill>
          <a:srgbClr val="272936"/>
        </a:solidFill>
        <a:effectLst/>
      </p:bgPr>
    </p:bg>
    <p:spTree>
      <p:nvGrpSpPr>
        <p:cNvPr id="1" name=""/>
        <p:cNvGrpSpPr/>
        <p:nvPr/>
      </p:nvGrpSpPr>
      <p:grpSpPr>
        <a:xfrm>
          <a:off x="0" y="0"/>
          <a:ext cx="0" cy="0"/>
          <a:chOff x="0" y="0"/>
          <a:chExt cx="0" cy="0"/>
        </a:xfrm>
      </p:grpSpPr>
      <p:pic>
        <p:nvPicPr>
          <p:cNvPr id="10" name="Picture 7">
            <a:hlinkClick r:id="rId2"/>
            <a:extLst>
              <a:ext uri="{FF2B5EF4-FFF2-40B4-BE49-F238E27FC236}">
                <a16:creationId xmlns:a16="http://schemas.microsoft.com/office/drawing/2014/main" id="{CC55E37E-23F7-AE09-687B-FF0A64465B2C}"/>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11" name="Picture 2">
            <a:hlinkClick r:id="rId4"/>
            <a:extLst>
              <a:ext uri="{FF2B5EF4-FFF2-40B4-BE49-F238E27FC236}">
                <a16:creationId xmlns:a16="http://schemas.microsoft.com/office/drawing/2014/main" id="{A9A234E1-21A9-0562-AA45-77469E965E95}"/>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897666" y="5571089"/>
            <a:ext cx="333195" cy="333195"/>
          </a:xfrm>
          <a:prstGeom prst="rect">
            <a:avLst/>
          </a:prstGeom>
          <a:noFill/>
        </p:spPr>
      </p:pic>
      <p:pic>
        <p:nvPicPr>
          <p:cNvPr id="12" name="Picture 4">
            <a:hlinkClick r:id="rId6"/>
            <a:extLst>
              <a:ext uri="{FF2B5EF4-FFF2-40B4-BE49-F238E27FC236}">
                <a16:creationId xmlns:a16="http://schemas.microsoft.com/office/drawing/2014/main" id="{D3F9462A-9181-7B6F-0C53-88633CD0910A}"/>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9281043" y="5571089"/>
            <a:ext cx="333195" cy="333195"/>
          </a:xfrm>
          <a:prstGeom prst="rect">
            <a:avLst/>
          </a:prstGeom>
          <a:noFill/>
        </p:spPr>
      </p:pic>
      <p:pic>
        <p:nvPicPr>
          <p:cNvPr id="13" name="Picture 5">
            <a:hlinkClick r:id="rId8"/>
            <a:extLst>
              <a:ext uri="{FF2B5EF4-FFF2-40B4-BE49-F238E27FC236}">
                <a16:creationId xmlns:a16="http://schemas.microsoft.com/office/drawing/2014/main" id="{E06B9B23-CBC0-7D38-E7EC-BE653F10478C}"/>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p:blipFill>
        <p:spPr bwMode="auto">
          <a:xfrm>
            <a:off x="9669687" y="5571089"/>
            <a:ext cx="333195" cy="333195"/>
          </a:xfrm>
          <a:prstGeom prst="rect">
            <a:avLst/>
          </a:prstGeom>
          <a:noFill/>
        </p:spPr>
      </p:pic>
      <p:pic>
        <p:nvPicPr>
          <p:cNvPr id="17" name="Picture 6">
            <a:hlinkClick r:id="rId10"/>
            <a:extLst>
              <a:ext uri="{FF2B5EF4-FFF2-40B4-BE49-F238E27FC236}">
                <a16:creationId xmlns:a16="http://schemas.microsoft.com/office/drawing/2014/main" id="{0057A36D-710A-32C2-2461-BFFF579A0993}"/>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0047796" y="5571089"/>
            <a:ext cx="333195" cy="333195"/>
          </a:xfrm>
          <a:prstGeom prst="rect">
            <a:avLst/>
          </a:prstGeom>
          <a:noFill/>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
        <p:nvSpPr>
          <p:cNvPr id="4" name="Graphic 3">
            <a:extLst>
              <a:ext uri="{FF2B5EF4-FFF2-40B4-BE49-F238E27FC236}">
                <a16:creationId xmlns:a16="http://schemas.microsoft.com/office/drawing/2014/main" id="{8D88D0D6-F7CA-3BAA-9BED-F959B3BD72AB}"/>
              </a:ext>
            </a:extLst>
          </p:cNvPr>
          <p:cNvSpPr/>
          <p:nvPr userDrawn="1"/>
        </p:nvSpPr>
        <p:spPr>
          <a:xfrm>
            <a:off x="3406541" y="3878969"/>
            <a:ext cx="8612170" cy="3349876"/>
          </a:xfrm>
          <a:custGeom>
            <a:avLst/>
            <a:gdLst>
              <a:gd name="connsiteX0" fmla="*/ 7439120 w 7439501"/>
              <a:gd name="connsiteY0" fmla="*/ 30480 h 2893743"/>
              <a:gd name="connsiteX1" fmla="*/ 7433310 w 7439501"/>
              <a:gd name="connsiteY1" fmla="*/ 22860 h 2893743"/>
              <a:gd name="connsiteX2" fmla="*/ 7427500 w 7439501"/>
              <a:gd name="connsiteY2" fmla="*/ 15240 h 2893743"/>
              <a:gd name="connsiteX3" fmla="*/ 7421689 w 7439501"/>
              <a:gd name="connsiteY3" fmla="*/ 7620 h 2893743"/>
              <a:gd name="connsiteX4" fmla="*/ 7415879 w 7439501"/>
              <a:gd name="connsiteY4" fmla="*/ 0 h 2893743"/>
              <a:gd name="connsiteX5" fmla="*/ 7328249 w 7439501"/>
              <a:gd name="connsiteY5" fmla="*/ 64484 h 2893743"/>
              <a:gd name="connsiteX6" fmla="*/ 7251668 w 7439501"/>
              <a:gd name="connsiteY6" fmla="*/ 119444 h 2893743"/>
              <a:gd name="connsiteX7" fmla="*/ 7185756 w 7439501"/>
              <a:gd name="connsiteY7" fmla="*/ 164402 h 2893743"/>
              <a:gd name="connsiteX8" fmla="*/ 7131558 w 7439501"/>
              <a:gd name="connsiteY8" fmla="*/ 200692 h 2893743"/>
              <a:gd name="connsiteX9" fmla="*/ 7033356 w 7439501"/>
              <a:gd name="connsiteY9" fmla="*/ 262223 h 2893743"/>
              <a:gd name="connsiteX10" fmla="*/ 6979730 w 7439501"/>
              <a:gd name="connsiteY10" fmla="*/ 293656 h 2893743"/>
              <a:gd name="connsiteX11" fmla="*/ 6925723 w 7439501"/>
              <a:gd name="connsiteY11" fmla="*/ 324422 h 2893743"/>
              <a:gd name="connsiteX12" fmla="*/ 6898767 w 7439501"/>
              <a:gd name="connsiteY12" fmla="*/ 339852 h 2893743"/>
              <a:gd name="connsiteX13" fmla="*/ 6871240 w 7439501"/>
              <a:gd name="connsiteY13" fmla="*/ 354140 h 2893743"/>
              <a:gd name="connsiteX14" fmla="*/ 6815995 w 7439501"/>
              <a:gd name="connsiteY14" fmla="*/ 382429 h 2893743"/>
              <a:gd name="connsiteX15" fmla="*/ 6760274 w 7439501"/>
              <a:gd name="connsiteY15" fmla="*/ 409766 h 2893743"/>
              <a:gd name="connsiteX16" fmla="*/ 6703790 w 7439501"/>
              <a:gd name="connsiteY16" fmla="*/ 435293 h 2893743"/>
              <a:gd name="connsiteX17" fmla="*/ 6589109 w 7439501"/>
              <a:gd name="connsiteY17" fmla="*/ 482346 h 2893743"/>
              <a:gd name="connsiteX18" fmla="*/ 6560249 w 7439501"/>
              <a:gd name="connsiteY18" fmla="*/ 493490 h 2893743"/>
              <a:gd name="connsiteX19" fmla="*/ 6530817 w 7439501"/>
              <a:gd name="connsiteY19" fmla="*/ 503111 h 2893743"/>
              <a:gd name="connsiteX20" fmla="*/ 6472047 w 7439501"/>
              <a:gd name="connsiteY20" fmla="*/ 522446 h 2893743"/>
              <a:gd name="connsiteX21" fmla="*/ 6442329 w 7439501"/>
              <a:gd name="connsiteY21" fmla="*/ 530924 h 2893743"/>
              <a:gd name="connsiteX22" fmla="*/ 6412421 w 7439501"/>
              <a:gd name="connsiteY22" fmla="*/ 538829 h 2893743"/>
              <a:gd name="connsiteX23" fmla="*/ 6382512 w 7439501"/>
              <a:gd name="connsiteY23" fmla="*/ 546735 h 2893743"/>
              <a:gd name="connsiteX24" fmla="*/ 6367558 w 7439501"/>
              <a:gd name="connsiteY24" fmla="*/ 550640 h 2893743"/>
              <a:gd name="connsiteX25" fmla="*/ 6352413 w 7439501"/>
              <a:gd name="connsiteY25" fmla="*/ 553688 h 2893743"/>
              <a:gd name="connsiteX26" fmla="*/ 6291929 w 7439501"/>
              <a:gd name="connsiteY26" fmla="*/ 565595 h 2893743"/>
              <a:gd name="connsiteX27" fmla="*/ 6276785 w 7439501"/>
              <a:gd name="connsiteY27" fmla="*/ 568547 h 2893743"/>
              <a:gd name="connsiteX28" fmla="*/ 6261545 w 7439501"/>
              <a:gd name="connsiteY28" fmla="*/ 570548 h 2893743"/>
              <a:gd name="connsiteX29" fmla="*/ 6230970 w 7439501"/>
              <a:gd name="connsiteY29" fmla="*/ 574453 h 2893743"/>
              <a:gd name="connsiteX30" fmla="*/ 6108383 w 7439501"/>
              <a:gd name="connsiteY30" fmla="*/ 584264 h 2893743"/>
              <a:gd name="connsiteX31" fmla="*/ 6047232 w 7439501"/>
              <a:gd name="connsiteY31" fmla="*/ 583216 h 2893743"/>
              <a:gd name="connsiteX32" fmla="*/ 6031992 w 7439501"/>
              <a:gd name="connsiteY32" fmla="*/ 582930 h 2893743"/>
              <a:gd name="connsiteX33" fmla="*/ 6016752 w 7439501"/>
              <a:gd name="connsiteY33" fmla="*/ 581501 h 2893743"/>
              <a:gd name="connsiteX34" fmla="*/ 5986368 w 7439501"/>
              <a:gd name="connsiteY34" fmla="*/ 578644 h 2893743"/>
              <a:gd name="connsiteX35" fmla="*/ 5955983 w 7439501"/>
              <a:gd name="connsiteY35" fmla="*/ 575501 h 2893743"/>
              <a:gd name="connsiteX36" fmla="*/ 5925979 w 7439501"/>
              <a:gd name="connsiteY36" fmla="*/ 570357 h 2893743"/>
              <a:gd name="connsiteX37" fmla="*/ 5895975 w 7439501"/>
              <a:gd name="connsiteY37" fmla="*/ 565214 h 2893743"/>
              <a:gd name="connsiteX38" fmla="*/ 5866352 w 7439501"/>
              <a:gd name="connsiteY38" fmla="*/ 557975 h 2893743"/>
              <a:gd name="connsiteX39" fmla="*/ 5642324 w 7439501"/>
              <a:gd name="connsiteY39" fmla="*/ 465773 h 2893743"/>
              <a:gd name="connsiteX40" fmla="*/ 5456397 w 7439501"/>
              <a:gd name="connsiteY40" fmla="*/ 310229 h 2893743"/>
              <a:gd name="connsiteX41" fmla="*/ 5382483 w 7439501"/>
              <a:gd name="connsiteY41" fmla="*/ 213551 h 2893743"/>
              <a:gd name="connsiteX42" fmla="*/ 5324475 w 7439501"/>
              <a:gd name="connsiteY42" fmla="*/ 107061 h 2893743"/>
              <a:gd name="connsiteX43" fmla="*/ 5316474 w 7439501"/>
              <a:gd name="connsiteY43" fmla="*/ 88202 h 2893743"/>
              <a:gd name="connsiteX44" fmla="*/ 5305235 w 7439501"/>
              <a:gd name="connsiteY44" fmla="*/ 58484 h 2893743"/>
              <a:gd name="connsiteX45" fmla="*/ 5304854 w 7439501"/>
              <a:gd name="connsiteY45" fmla="*/ 58388 h 2893743"/>
              <a:gd name="connsiteX46" fmla="*/ 5289233 w 7439501"/>
              <a:gd name="connsiteY46" fmla="*/ 55626 h 2893743"/>
              <a:gd name="connsiteX47" fmla="*/ 5281994 w 7439501"/>
              <a:gd name="connsiteY47" fmla="*/ 54388 h 2893743"/>
              <a:gd name="connsiteX48" fmla="*/ 5277898 w 7439501"/>
              <a:gd name="connsiteY48" fmla="*/ 53816 h 2893743"/>
              <a:gd name="connsiteX49" fmla="*/ 5261420 w 7439501"/>
              <a:gd name="connsiteY49" fmla="*/ 51530 h 2893743"/>
              <a:gd name="connsiteX50" fmla="*/ 5228463 w 7439501"/>
              <a:gd name="connsiteY50" fmla="*/ 47625 h 2893743"/>
              <a:gd name="connsiteX51" fmla="*/ 5195507 w 7439501"/>
              <a:gd name="connsiteY51" fmla="*/ 44577 h 2893743"/>
              <a:gd name="connsiteX52" fmla="*/ 5162550 w 7439501"/>
              <a:gd name="connsiteY52" fmla="*/ 42196 h 2893743"/>
              <a:gd name="connsiteX53" fmla="*/ 5129594 w 7439501"/>
              <a:gd name="connsiteY53" fmla="*/ 40576 h 2893743"/>
              <a:gd name="connsiteX54" fmla="*/ 5096542 w 7439501"/>
              <a:gd name="connsiteY54" fmla="*/ 39529 h 2893743"/>
              <a:gd name="connsiteX55" fmla="*/ 5030534 w 7439501"/>
              <a:gd name="connsiteY55" fmla="*/ 38957 h 2893743"/>
              <a:gd name="connsiteX56" fmla="*/ 4975956 w 7439501"/>
              <a:gd name="connsiteY56" fmla="*/ 40386 h 2893743"/>
              <a:gd name="connsiteX57" fmla="*/ 4921377 w 7439501"/>
              <a:gd name="connsiteY57" fmla="*/ 43244 h 2893743"/>
              <a:gd name="connsiteX58" fmla="*/ 4866894 w 7439501"/>
              <a:gd name="connsiteY58" fmla="*/ 47625 h 2893743"/>
              <a:gd name="connsiteX59" fmla="*/ 4812602 w 7439501"/>
              <a:gd name="connsiteY59" fmla="*/ 53435 h 2893743"/>
              <a:gd name="connsiteX60" fmla="*/ 4704588 w 7439501"/>
              <a:gd name="connsiteY60" fmla="*/ 69723 h 2893743"/>
              <a:gd name="connsiteX61" fmla="*/ 4650962 w 7439501"/>
              <a:gd name="connsiteY61" fmla="*/ 80010 h 2893743"/>
              <a:gd name="connsiteX62" fmla="*/ 4597623 w 7439501"/>
              <a:gd name="connsiteY62" fmla="*/ 91726 h 2893743"/>
              <a:gd name="connsiteX63" fmla="*/ 4544568 w 7439501"/>
              <a:gd name="connsiteY63" fmla="*/ 104775 h 2893743"/>
              <a:gd name="connsiteX64" fmla="*/ 4491990 w 7439501"/>
              <a:gd name="connsiteY64" fmla="*/ 119634 h 2893743"/>
              <a:gd name="connsiteX65" fmla="*/ 4439889 w 7439501"/>
              <a:gd name="connsiteY65" fmla="*/ 135922 h 2893743"/>
              <a:gd name="connsiteX66" fmla="*/ 4388168 w 7439501"/>
              <a:gd name="connsiteY66" fmla="*/ 153448 h 2893743"/>
              <a:gd name="connsiteX67" fmla="*/ 4336923 w 7439501"/>
              <a:gd name="connsiteY67" fmla="*/ 172403 h 2893743"/>
              <a:gd name="connsiteX68" fmla="*/ 4286441 w 7439501"/>
              <a:gd name="connsiteY68" fmla="*/ 193167 h 2893743"/>
              <a:gd name="connsiteX69" fmla="*/ 4186904 w 7439501"/>
              <a:gd name="connsiteY69" fmla="*/ 238316 h 2893743"/>
              <a:gd name="connsiteX70" fmla="*/ 4138422 w 7439501"/>
              <a:gd name="connsiteY70" fmla="*/ 263462 h 2893743"/>
              <a:gd name="connsiteX71" fmla="*/ 4090416 w 7439501"/>
              <a:gd name="connsiteY71" fmla="*/ 289560 h 2893743"/>
              <a:gd name="connsiteX72" fmla="*/ 3997071 w 7439501"/>
              <a:gd name="connsiteY72" fmla="*/ 346329 h 2893743"/>
              <a:gd name="connsiteX73" fmla="*/ 3951351 w 7439501"/>
              <a:gd name="connsiteY73" fmla="*/ 376238 h 2893743"/>
              <a:gd name="connsiteX74" fmla="*/ 3907060 w 7439501"/>
              <a:gd name="connsiteY74" fmla="*/ 408146 h 2893743"/>
              <a:gd name="connsiteX75" fmla="*/ 3820573 w 7439501"/>
              <a:gd name="connsiteY75" fmla="*/ 474917 h 2893743"/>
              <a:gd name="connsiteX76" fmla="*/ 3514439 w 7439501"/>
              <a:gd name="connsiteY76" fmla="*/ 785336 h 2893743"/>
              <a:gd name="connsiteX77" fmla="*/ 3514439 w 7439501"/>
              <a:gd name="connsiteY77" fmla="*/ 785527 h 2893743"/>
              <a:gd name="connsiteX78" fmla="*/ 3399377 w 7439501"/>
              <a:gd name="connsiteY78" fmla="*/ 944690 h 2893743"/>
              <a:gd name="connsiteX79" fmla="*/ 3295460 w 7439501"/>
              <a:gd name="connsiteY79" fmla="*/ 1110329 h 2893743"/>
              <a:gd name="connsiteX80" fmla="*/ 3196685 w 7439501"/>
              <a:gd name="connsiteY80" fmla="*/ 1278446 h 2893743"/>
              <a:gd name="connsiteX81" fmla="*/ 3098578 w 7439501"/>
              <a:gd name="connsiteY81" fmla="*/ 1446467 h 2893743"/>
              <a:gd name="connsiteX82" fmla="*/ 2997803 w 7439501"/>
              <a:gd name="connsiteY82" fmla="*/ 1612487 h 2893743"/>
              <a:gd name="connsiteX83" fmla="*/ 2891600 w 7439501"/>
              <a:gd name="connsiteY83" fmla="*/ 1774698 h 2893743"/>
              <a:gd name="connsiteX84" fmla="*/ 2654999 w 7439501"/>
              <a:gd name="connsiteY84" fmla="*/ 2080736 h 2893743"/>
              <a:gd name="connsiteX85" fmla="*/ 2521839 w 7439501"/>
              <a:gd name="connsiteY85" fmla="*/ 2220659 h 2893743"/>
              <a:gd name="connsiteX86" fmla="*/ 2377631 w 7439501"/>
              <a:gd name="connsiteY86" fmla="*/ 2348960 h 2893743"/>
              <a:gd name="connsiteX87" fmla="*/ 2222754 w 7439501"/>
              <a:gd name="connsiteY87" fmla="*/ 2463927 h 2893743"/>
              <a:gd name="connsiteX88" fmla="*/ 2057876 w 7439501"/>
              <a:gd name="connsiteY88" fmla="*/ 2564035 h 2893743"/>
              <a:gd name="connsiteX89" fmla="*/ 1329404 w 7439501"/>
              <a:gd name="connsiteY89" fmla="*/ 2810542 h 2893743"/>
              <a:gd name="connsiteX90" fmla="*/ 685800 w 7439501"/>
              <a:gd name="connsiteY90" fmla="*/ 2854833 h 2893743"/>
              <a:gd name="connsiteX91" fmla="*/ 643128 w 7439501"/>
              <a:gd name="connsiteY91" fmla="*/ 2853404 h 2893743"/>
              <a:gd name="connsiteX92" fmla="*/ 589788 w 7439501"/>
              <a:gd name="connsiteY92" fmla="*/ 2851690 h 2893743"/>
              <a:gd name="connsiteX93" fmla="*/ 515207 w 7439501"/>
              <a:gd name="connsiteY93" fmla="*/ 2847689 h 2893743"/>
              <a:gd name="connsiteX94" fmla="*/ 5715 w 7439501"/>
              <a:gd name="connsiteY94" fmla="*/ 2791873 h 2893743"/>
              <a:gd name="connsiteX95" fmla="*/ 4286 w 7439501"/>
              <a:gd name="connsiteY95" fmla="*/ 2801302 h 2893743"/>
              <a:gd name="connsiteX96" fmla="*/ 2858 w 7439501"/>
              <a:gd name="connsiteY96" fmla="*/ 2810732 h 2893743"/>
              <a:gd name="connsiteX97" fmla="*/ 1429 w 7439501"/>
              <a:gd name="connsiteY97" fmla="*/ 2820162 h 2893743"/>
              <a:gd name="connsiteX98" fmla="*/ 0 w 7439501"/>
              <a:gd name="connsiteY98" fmla="*/ 2829592 h 2893743"/>
              <a:gd name="connsiteX99" fmla="*/ 513112 w 7439501"/>
              <a:gd name="connsiteY99" fmla="*/ 2885789 h 2893743"/>
              <a:gd name="connsiteX100" fmla="*/ 588359 w 7439501"/>
              <a:gd name="connsiteY100" fmla="*/ 2889885 h 2893743"/>
              <a:gd name="connsiteX101" fmla="*/ 642176 w 7439501"/>
              <a:gd name="connsiteY101" fmla="*/ 2891695 h 2893743"/>
              <a:gd name="connsiteX102" fmla="*/ 685229 w 7439501"/>
              <a:gd name="connsiteY102" fmla="*/ 2893124 h 2893743"/>
              <a:gd name="connsiteX103" fmla="*/ 1336072 w 7439501"/>
              <a:gd name="connsiteY103" fmla="*/ 2848356 h 2893743"/>
              <a:gd name="connsiteX104" fmla="*/ 2076355 w 7439501"/>
              <a:gd name="connsiteY104" fmla="*/ 2597753 h 2893743"/>
              <a:gd name="connsiteX105" fmla="*/ 2244185 w 7439501"/>
              <a:gd name="connsiteY105" fmla="*/ 2495836 h 2893743"/>
              <a:gd name="connsiteX106" fmla="*/ 2401919 w 7439501"/>
              <a:gd name="connsiteY106" fmla="*/ 2378869 h 2893743"/>
              <a:gd name="connsiteX107" fmla="*/ 2548604 w 7439501"/>
              <a:gd name="connsiteY107" fmla="*/ 2248376 h 2893743"/>
              <a:gd name="connsiteX108" fmla="*/ 2683859 w 7439501"/>
              <a:gd name="connsiteY108" fmla="*/ 2106359 h 2893743"/>
              <a:gd name="connsiteX109" fmla="*/ 2923318 w 7439501"/>
              <a:gd name="connsiteY109" fmla="*/ 1796606 h 2893743"/>
              <a:gd name="connsiteX110" fmla="*/ 3030379 w 7439501"/>
              <a:gd name="connsiteY110" fmla="*/ 1633061 h 2893743"/>
              <a:gd name="connsiteX111" fmla="*/ 3131630 w 7439501"/>
              <a:gd name="connsiteY111" fmla="*/ 1466183 h 2893743"/>
              <a:gd name="connsiteX112" fmla="*/ 3229928 w 7439501"/>
              <a:gd name="connsiteY112" fmla="*/ 1297972 h 2893743"/>
              <a:gd name="connsiteX113" fmla="*/ 3328416 w 7439501"/>
              <a:gd name="connsiteY113" fmla="*/ 1130332 h 2893743"/>
              <a:gd name="connsiteX114" fmla="*/ 3431381 w 7439501"/>
              <a:gd name="connsiteY114" fmla="*/ 966121 h 2893743"/>
              <a:gd name="connsiteX115" fmla="*/ 3544348 w 7439501"/>
              <a:gd name="connsiteY115" fmla="*/ 809720 h 2893743"/>
              <a:gd name="connsiteX116" fmla="*/ 3544348 w 7439501"/>
              <a:gd name="connsiteY116" fmla="*/ 809530 h 2893743"/>
              <a:gd name="connsiteX117" fmla="*/ 3844957 w 7439501"/>
              <a:gd name="connsiteY117" fmla="*/ 504730 h 2893743"/>
              <a:gd name="connsiteX118" fmla="*/ 3929729 w 7439501"/>
              <a:gd name="connsiteY118" fmla="*/ 439293 h 2893743"/>
              <a:gd name="connsiteX119" fmla="*/ 3973164 w 7439501"/>
              <a:gd name="connsiteY119" fmla="*/ 407956 h 2893743"/>
              <a:gd name="connsiteX120" fmla="*/ 4017931 w 7439501"/>
              <a:gd name="connsiteY120" fmla="*/ 378619 h 2893743"/>
              <a:gd name="connsiteX121" fmla="*/ 4109466 w 7439501"/>
              <a:gd name="connsiteY121" fmla="*/ 322993 h 2893743"/>
              <a:gd name="connsiteX122" fmla="*/ 4156520 w 7439501"/>
              <a:gd name="connsiteY122" fmla="*/ 297371 h 2893743"/>
              <a:gd name="connsiteX123" fmla="*/ 4204050 w 7439501"/>
              <a:gd name="connsiteY123" fmla="*/ 272701 h 2893743"/>
              <a:gd name="connsiteX124" fmla="*/ 4301585 w 7439501"/>
              <a:gd name="connsiteY124" fmla="*/ 228409 h 2893743"/>
              <a:gd name="connsiteX125" fmla="*/ 4351116 w 7439501"/>
              <a:gd name="connsiteY125" fmla="*/ 208026 h 2893743"/>
              <a:gd name="connsiteX126" fmla="*/ 4401312 w 7439501"/>
              <a:gd name="connsiteY126" fmla="*/ 189452 h 2893743"/>
              <a:gd name="connsiteX127" fmla="*/ 4451985 w 7439501"/>
              <a:gd name="connsiteY127" fmla="*/ 172307 h 2893743"/>
              <a:gd name="connsiteX128" fmla="*/ 4503134 w 7439501"/>
              <a:gd name="connsiteY128" fmla="*/ 156305 h 2893743"/>
              <a:gd name="connsiteX129" fmla="*/ 4554665 w 7439501"/>
              <a:gd name="connsiteY129" fmla="*/ 141732 h 2893743"/>
              <a:gd name="connsiteX130" fmla="*/ 4606671 w 7439501"/>
              <a:gd name="connsiteY130" fmla="*/ 128969 h 2893743"/>
              <a:gd name="connsiteX131" fmla="*/ 4658964 w 7439501"/>
              <a:gd name="connsiteY131" fmla="*/ 117539 h 2893743"/>
              <a:gd name="connsiteX132" fmla="*/ 4711542 w 7439501"/>
              <a:gd name="connsiteY132" fmla="*/ 107442 h 2893743"/>
              <a:gd name="connsiteX133" fmla="*/ 4817459 w 7439501"/>
              <a:gd name="connsiteY133" fmla="*/ 91440 h 2893743"/>
              <a:gd name="connsiteX134" fmla="*/ 4870704 w 7439501"/>
              <a:gd name="connsiteY134" fmla="*/ 85725 h 2893743"/>
              <a:gd name="connsiteX135" fmla="*/ 4924140 w 7439501"/>
              <a:gd name="connsiteY135" fmla="*/ 81439 h 2893743"/>
              <a:gd name="connsiteX136" fmla="*/ 4977670 w 7439501"/>
              <a:gd name="connsiteY136" fmla="*/ 78581 h 2893743"/>
              <a:gd name="connsiteX137" fmla="*/ 5031201 w 7439501"/>
              <a:gd name="connsiteY137" fmla="*/ 77153 h 2893743"/>
              <a:gd name="connsiteX138" fmla="*/ 5095875 w 7439501"/>
              <a:gd name="connsiteY138" fmla="*/ 77724 h 2893743"/>
              <a:gd name="connsiteX139" fmla="*/ 5128165 w 7439501"/>
              <a:gd name="connsiteY139" fmla="*/ 78772 h 2893743"/>
              <a:gd name="connsiteX140" fmla="*/ 5160455 w 7439501"/>
              <a:gd name="connsiteY140" fmla="*/ 80391 h 2893743"/>
              <a:gd name="connsiteX141" fmla="*/ 5192649 w 7439501"/>
              <a:gd name="connsiteY141" fmla="*/ 82677 h 2893743"/>
              <a:gd name="connsiteX142" fmla="*/ 5224749 w 7439501"/>
              <a:gd name="connsiteY142" fmla="*/ 85725 h 2893743"/>
              <a:gd name="connsiteX143" fmla="*/ 5256657 w 7439501"/>
              <a:gd name="connsiteY143" fmla="*/ 89535 h 2893743"/>
              <a:gd name="connsiteX144" fmla="*/ 5272469 w 7439501"/>
              <a:gd name="connsiteY144" fmla="*/ 91726 h 2893743"/>
              <a:gd name="connsiteX145" fmla="*/ 5277612 w 7439501"/>
              <a:gd name="connsiteY145" fmla="*/ 92488 h 2893743"/>
              <a:gd name="connsiteX146" fmla="*/ 5277612 w 7439501"/>
              <a:gd name="connsiteY146" fmla="*/ 92488 h 2893743"/>
              <a:gd name="connsiteX147" fmla="*/ 5281327 w 7439501"/>
              <a:gd name="connsiteY147" fmla="*/ 102394 h 2893743"/>
              <a:gd name="connsiteX148" fmla="*/ 5289804 w 7439501"/>
              <a:gd name="connsiteY148" fmla="*/ 122587 h 2893743"/>
              <a:gd name="connsiteX149" fmla="*/ 5350859 w 7439501"/>
              <a:gd name="connsiteY149" fmla="*/ 234601 h 2893743"/>
              <a:gd name="connsiteX150" fmla="*/ 5428107 w 7439501"/>
              <a:gd name="connsiteY150" fmla="*/ 335661 h 2893743"/>
              <a:gd name="connsiteX151" fmla="*/ 5622893 w 7439501"/>
              <a:gd name="connsiteY151" fmla="*/ 498539 h 2893743"/>
              <a:gd name="connsiteX152" fmla="*/ 5857590 w 7439501"/>
              <a:gd name="connsiteY152" fmla="*/ 595217 h 2893743"/>
              <a:gd name="connsiteX153" fmla="*/ 5888546 w 7439501"/>
              <a:gd name="connsiteY153" fmla="*/ 602742 h 2893743"/>
              <a:gd name="connsiteX154" fmla="*/ 5919883 w 7439501"/>
              <a:gd name="connsiteY154" fmla="*/ 608171 h 2893743"/>
              <a:gd name="connsiteX155" fmla="*/ 5951221 w 7439501"/>
              <a:gd name="connsiteY155" fmla="*/ 613505 h 2893743"/>
              <a:gd name="connsiteX156" fmla="*/ 5982843 w 7439501"/>
              <a:gd name="connsiteY156" fmla="*/ 616744 h 2893743"/>
              <a:gd name="connsiteX157" fmla="*/ 6014466 w 7439501"/>
              <a:gd name="connsiteY157" fmla="*/ 619697 h 2893743"/>
              <a:gd name="connsiteX158" fmla="*/ 6030278 w 7439501"/>
              <a:gd name="connsiteY158" fmla="*/ 621125 h 2893743"/>
              <a:gd name="connsiteX159" fmla="*/ 6046089 w 7439501"/>
              <a:gd name="connsiteY159" fmla="*/ 621411 h 2893743"/>
              <a:gd name="connsiteX160" fmla="*/ 6109526 w 7439501"/>
              <a:gd name="connsiteY160" fmla="*/ 622459 h 2893743"/>
              <a:gd name="connsiteX161" fmla="*/ 6236113 w 7439501"/>
              <a:gd name="connsiteY161" fmla="*/ 612362 h 2893743"/>
              <a:gd name="connsiteX162" fmla="*/ 6267545 w 7439501"/>
              <a:gd name="connsiteY162" fmla="*/ 608362 h 2893743"/>
              <a:gd name="connsiteX163" fmla="*/ 6283262 w 7439501"/>
              <a:gd name="connsiteY163" fmla="*/ 606266 h 2893743"/>
              <a:gd name="connsiteX164" fmla="*/ 6298788 w 7439501"/>
              <a:gd name="connsiteY164" fmla="*/ 603218 h 2893743"/>
              <a:gd name="connsiteX165" fmla="*/ 6360986 w 7439501"/>
              <a:gd name="connsiteY165" fmla="*/ 591026 h 2893743"/>
              <a:gd name="connsiteX166" fmla="*/ 6376511 w 7439501"/>
              <a:gd name="connsiteY166" fmla="*/ 587883 h 2893743"/>
              <a:gd name="connsiteX167" fmla="*/ 6391847 w 7439501"/>
              <a:gd name="connsiteY167" fmla="*/ 583883 h 2893743"/>
              <a:gd name="connsiteX168" fmla="*/ 6422422 w 7439501"/>
              <a:gd name="connsiteY168" fmla="*/ 575882 h 2893743"/>
              <a:gd name="connsiteX169" fmla="*/ 6452997 w 7439501"/>
              <a:gd name="connsiteY169" fmla="*/ 567785 h 2893743"/>
              <a:gd name="connsiteX170" fmla="*/ 6483382 w 7439501"/>
              <a:gd name="connsiteY170" fmla="*/ 559118 h 2893743"/>
              <a:gd name="connsiteX171" fmla="*/ 6543390 w 7439501"/>
              <a:gd name="connsiteY171" fmla="*/ 539401 h 2893743"/>
              <a:gd name="connsiteX172" fmla="*/ 6573393 w 7439501"/>
              <a:gd name="connsiteY172" fmla="*/ 529590 h 2893743"/>
              <a:gd name="connsiteX173" fmla="*/ 6602826 w 7439501"/>
              <a:gd name="connsiteY173" fmla="*/ 518255 h 2893743"/>
              <a:gd name="connsiteX174" fmla="*/ 6719507 w 7439501"/>
              <a:gd name="connsiteY174" fmla="*/ 470440 h 2893743"/>
              <a:gd name="connsiteX175" fmla="*/ 6776943 w 7439501"/>
              <a:gd name="connsiteY175" fmla="*/ 444437 h 2893743"/>
              <a:gd name="connsiteX176" fmla="*/ 6833426 w 7439501"/>
              <a:gd name="connsiteY176" fmla="*/ 416719 h 2893743"/>
              <a:gd name="connsiteX177" fmla="*/ 6889433 w 7439501"/>
              <a:gd name="connsiteY177" fmla="*/ 388049 h 2893743"/>
              <a:gd name="connsiteX178" fmla="*/ 6917341 w 7439501"/>
              <a:gd name="connsiteY178" fmla="*/ 373571 h 2893743"/>
              <a:gd name="connsiteX179" fmla="*/ 6944678 w 7439501"/>
              <a:gd name="connsiteY179" fmla="*/ 358045 h 2893743"/>
              <a:gd name="connsiteX180" fmla="*/ 6999256 w 7439501"/>
              <a:gd name="connsiteY180" fmla="*/ 326898 h 2893743"/>
              <a:gd name="connsiteX181" fmla="*/ 7053453 w 7439501"/>
              <a:gd name="connsiteY181" fmla="*/ 295085 h 2893743"/>
              <a:gd name="connsiteX182" fmla="*/ 7152704 w 7439501"/>
              <a:gd name="connsiteY182" fmla="*/ 232886 h 2893743"/>
              <a:gd name="connsiteX183" fmla="*/ 7207472 w 7439501"/>
              <a:gd name="connsiteY183" fmla="*/ 196310 h 2893743"/>
              <a:gd name="connsiteX184" fmla="*/ 7273957 w 7439501"/>
              <a:gd name="connsiteY184" fmla="*/ 150971 h 2893743"/>
              <a:gd name="connsiteX185" fmla="*/ 7351205 w 7439501"/>
              <a:gd name="connsiteY185" fmla="*/ 95631 h 2893743"/>
              <a:gd name="connsiteX186" fmla="*/ 7439502 w 7439501"/>
              <a:gd name="connsiteY186" fmla="*/ 30671 h 2893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7439501" h="2893743">
                <a:moveTo>
                  <a:pt x="7439120" y="30480"/>
                </a:moveTo>
                <a:lnTo>
                  <a:pt x="7433310" y="22860"/>
                </a:lnTo>
                <a:lnTo>
                  <a:pt x="7427500" y="15240"/>
                </a:lnTo>
                <a:lnTo>
                  <a:pt x="7421689" y="7620"/>
                </a:lnTo>
                <a:lnTo>
                  <a:pt x="7415879" y="0"/>
                </a:lnTo>
                <a:cubicBezTo>
                  <a:pt x="7384733" y="22955"/>
                  <a:pt x="7355491" y="44387"/>
                  <a:pt x="7328249" y="64484"/>
                </a:cubicBezTo>
                <a:cubicBezTo>
                  <a:pt x="7300913" y="84487"/>
                  <a:pt x="7275862" y="103537"/>
                  <a:pt x="7251668" y="119444"/>
                </a:cubicBezTo>
                <a:cubicBezTo>
                  <a:pt x="7227665" y="135731"/>
                  <a:pt x="7205758" y="150781"/>
                  <a:pt x="7185756" y="164402"/>
                </a:cubicBezTo>
                <a:cubicBezTo>
                  <a:pt x="7165658" y="177832"/>
                  <a:pt x="7148132" y="190691"/>
                  <a:pt x="7131558" y="200692"/>
                </a:cubicBezTo>
                <a:cubicBezTo>
                  <a:pt x="7066122" y="241745"/>
                  <a:pt x="7033356" y="262223"/>
                  <a:pt x="7033356" y="262223"/>
                </a:cubicBezTo>
                <a:cubicBezTo>
                  <a:pt x="7016020" y="273558"/>
                  <a:pt x="6997637" y="283274"/>
                  <a:pt x="6979730" y="293656"/>
                </a:cubicBezTo>
                <a:cubicBezTo>
                  <a:pt x="6961727" y="303943"/>
                  <a:pt x="6943725" y="314135"/>
                  <a:pt x="6925723" y="324422"/>
                </a:cubicBezTo>
                <a:lnTo>
                  <a:pt x="6898767" y="339852"/>
                </a:lnTo>
                <a:cubicBezTo>
                  <a:pt x="6889718" y="344805"/>
                  <a:pt x="6880384" y="349377"/>
                  <a:pt x="6871240" y="354140"/>
                </a:cubicBezTo>
                <a:cubicBezTo>
                  <a:pt x="6852857" y="363569"/>
                  <a:pt x="6834378" y="372999"/>
                  <a:pt x="6815995" y="382429"/>
                </a:cubicBezTo>
                <a:cubicBezTo>
                  <a:pt x="6797517" y="391763"/>
                  <a:pt x="6779324" y="401669"/>
                  <a:pt x="6760274" y="409766"/>
                </a:cubicBezTo>
                <a:lnTo>
                  <a:pt x="6703790" y="435293"/>
                </a:lnTo>
                <a:cubicBezTo>
                  <a:pt x="6666452" y="453295"/>
                  <a:pt x="6627496" y="466916"/>
                  <a:pt x="6589109" y="482346"/>
                </a:cubicBezTo>
                <a:cubicBezTo>
                  <a:pt x="6579489" y="486061"/>
                  <a:pt x="6569964" y="490061"/>
                  <a:pt x="6560249" y="493490"/>
                </a:cubicBezTo>
                <a:lnTo>
                  <a:pt x="6530817" y="503111"/>
                </a:lnTo>
                <a:lnTo>
                  <a:pt x="6472047" y="522446"/>
                </a:lnTo>
                <a:cubicBezTo>
                  <a:pt x="6462332" y="525971"/>
                  <a:pt x="6452235" y="528257"/>
                  <a:pt x="6442329" y="530924"/>
                </a:cubicBezTo>
                <a:lnTo>
                  <a:pt x="6412421" y="538829"/>
                </a:lnTo>
                <a:lnTo>
                  <a:pt x="6382512" y="546735"/>
                </a:lnTo>
                <a:lnTo>
                  <a:pt x="6367558" y="550640"/>
                </a:lnTo>
                <a:cubicBezTo>
                  <a:pt x="6362510" y="551783"/>
                  <a:pt x="6357461" y="552641"/>
                  <a:pt x="6352413" y="553688"/>
                </a:cubicBezTo>
                <a:lnTo>
                  <a:pt x="6291929" y="565595"/>
                </a:lnTo>
                <a:lnTo>
                  <a:pt x="6276785" y="568547"/>
                </a:lnTo>
                <a:cubicBezTo>
                  <a:pt x="6271736" y="569309"/>
                  <a:pt x="6266593" y="569881"/>
                  <a:pt x="6261545" y="570548"/>
                </a:cubicBezTo>
                <a:lnTo>
                  <a:pt x="6230970" y="574453"/>
                </a:lnTo>
                <a:cubicBezTo>
                  <a:pt x="6190298" y="580930"/>
                  <a:pt x="6149340" y="581692"/>
                  <a:pt x="6108383" y="584264"/>
                </a:cubicBezTo>
                <a:lnTo>
                  <a:pt x="6047232" y="583216"/>
                </a:lnTo>
                <a:lnTo>
                  <a:pt x="6031992" y="582930"/>
                </a:lnTo>
                <a:lnTo>
                  <a:pt x="6016752" y="581501"/>
                </a:lnTo>
                <a:lnTo>
                  <a:pt x="5986368" y="578644"/>
                </a:lnTo>
                <a:cubicBezTo>
                  <a:pt x="5976271" y="577596"/>
                  <a:pt x="5966079" y="577025"/>
                  <a:pt x="5955983" y="575501"/>
                </a:cubicBezTo>
                <a:lnTo>
                  <a:pt x="5925979" y="570357"/>
                </a:lnTo>
                <a:lnTo>
                  <a:pt x="5895975" y="565214"/>
                </a:lnTo>
                <a:cubicBezTo>
                  <a:pt x="5885974" y="563309"/>
                  <a:pt x="5876258" y="560356"/>
                  <a:pt x="5866352" y="557975"/>
                </a:cubicBezTo>
                <a:cubicBezTo>
                  <a:pt x="5787486" y="538829"/>
                  <a:pt x="5711571" y="507778"/>
                  <a:pt x="5642324" y="465773"/>
                </a:cubicBezTo>
                <a:cubicBezTo>
                  <a:pt x="5573078" y="423672"/>
                  <a:pt x="5510022" y="371285"/>
                  <a:pt x="5456397" y="310229"/>
                </a:cubicBezTo>
                <a:cubicBezTo>
                  <a:pt x="5429536" y="279749"/>
                  <a:pt x="5404961" y="247364"/>
                  <a:pt x="5382483" y="213551"/>
                </a:cubicBezTo>
                <a:cubicBezTo>
                  <a:pt x="5360575" y="179451"/>
                  <a:pt x="5340668" y="143923"/>
                  <a:pt x="5324475" y="107061"/>
                </a:cubicBezTo>
                <a:cubicBezTo>
                  <a:pt x="5321808" y="100775"/>
                  <a:pt x="5318760" y="94583"/>
                  <a:pt x="5316474" y="88202"/>
                </a:cubicBezTo>
                <a:lnTo>
                  <a:pt x="5305235" y="58484"/>
                </a:lnTo>
                <a:cubicBezTo>
                  <a:pt x="5305235" y="58484"/>
                  <a:pt x="5305044" y="58484"/>
                  <a:pt x="5304854" y="58388"/>
                </a:cubicBezTo>
                <a:lnTo>
                  <a:pt x="5289233" y="55626"/>
                </a:lnTo>
                <a:lnTo>
                  <a:pt x="5281994" y="54388"/>
                </a:lnTo>
                <a:lnTo>
                  <a:pt x="5277898" y="53816"/>
                </a:lnTo>
                <a:lnTo>
                  <a:pt x="5261420" y="51530"/>
                </a:lnTo>
                <a:cubicBezTo>
                  <a:pt x="5250466" y="50006"/>
                  <a:pt x="5239417" y="48863"/>
                  <a:pt x="5228463" y="47625"/>
                </a:cubicBezTo>
                <a:cubicBezTo>
                  <a:pt x="5217509" y="46387"/>
                  <a:pt x="5206461" y="45530"/>
                  <a:pt x="5195507" y="44577"/>
                </a:cubicBezTo>
                <a:lnTo>
                  <a:pt x="5162550" y="42196"/>
                </a:lnTo>
                <a:lnTo>
                  <a:pt x="5129594" y="40576"/>
                </a:lnTo>
                <a:cubicBezTo>
                  <a:pt x="5118640" y="39910"/>
                  <a:pt x="5107591" y="39910"/>
                  <a:pt x="5096542" y="39529"/>
                </a:cubicBezTo>
                <a:cubicBezTo>
                  <a:pt x="5074539" y="38767"/>
                  <a:pt x="5052536" y="39148"/>
                  <a:pt x="5030534" y="38957"/>
                </a:cubicBezTo>
                <a:lnTo>
                  <a:pt x="4975956" y="40386"/>
                </a:lnTo>
                <a:cubicBezTo>
                  <a:pt x="4957763" y="41339"/>
                  <a:pt x="4939570" y="42101"/>
                  <a:pt x="4921377" y="43244"/>
                </a:cubicBezTo>
                <a:lnTo>
                  <a:pt x="4866894" y="47625"/>
                </a:lnTo>
                <a:lnTo>
                  <a:pt x="4812602" y="53435"/>
                </a:lnTo>
                <a:cubicBezTo>
                  <a:pt x="4776502" y="58198"/>
                  <a:pt x="4740402" y="63151"/>
                  <a:pt x="4704588" y="69723"/>
                </a:cubicBezTo>
                <a:cubicBezTo>
                  <a:pt x="4686586" y="72581"/>
                  <a:pt x="4668774" y="76295"/>
                  <a:pt x="4650962" y="80010"/>
                </a:cubicBezTo>
                <a:cubicBezTo>
                  <a:pt x="4633151" y="83725"/>
                  <a:pt x="4615244" y="87154"/>
                  <a:pt x="4597623" y="91726"/>
                </a:cubicBezTo>
                <a:lnTo>
                  <a:pt x="4544568" y="104775"/>
                </a:lnTo>
                <a:lnTo>
                  <a:pt x="4491990" y="119634"/>
                </a:lnTo>
                <a:cubicBezTo>
                  <a:pt x="4474369" y="124301"/>
                  <a:pt x="4457224" y="130397"/>
                  <a:pt x="4439889" y="135922"/>
                </a:cubicBezTo>
                <a:cubicBezTo>
                  <a:pt x="4422648" y="141732"/>
                  <a:pt x="4405122" y="146780"/>
                  <a:pt x="4388168" y="153448"/>
                </a:cubicBezTo>
                <a:cubicBezTo>
                  <a:pt x="4371118" y="159734"/>
                  <a:pt x="4353973" y="166116"/>
                  <a:pt x="4336923" y="172403"/>
                </a:cubicBezTo>
                <a:cubicBezTo>
                  <a:pt x="4319874" y="178880"/>
                  <a:pt x="4303300" y="186309"/>
                  <a:pt x="4286441" y="193167"/>
                </a:cubicBezTo>
                <a:cubicBezTo>
                  <a:pt x="4252532" y="206597"/>
                  <a:pt x="4220051" y="223171"/>
                  <a:pt x="4186904" y="238316"/>
                </a:cubicBezTo>
                <a:cubicBezTo>
                  <a:pt x="4170522" y="246221"/>
                  <a:pt x="4154615" y="255080"/>
                  <a:pt x="4138422" y="263462"/>
                </a:cubicBezTo>
                <a:cubicBezTo>
                  <a:pt x="4122325" y="272034"/>
                  <a:pt x="4105942" y="280035"/>
                  <a:pt x="4090416" y="289560"/>
                </a:cubicBezTo>
                <a:cubicBezTo>
                  <a:pt x="4058984" y="308039"/>
                  <a:pt x="4027170" y="325850"/>
                  <a:pt x="3997071" y="346329"/>
                </a:cubicBezTo>
                <a:cubicBezTo>
                  <a:pt x="3981831" y="356330"/>
                  <a:pt x="3966401" y="366046"/>
                  <a:pt x="3951351" y="376238"/>
                </a:cubicBezTo>
                <a:cubicBezTo>
                  <a:pt x="3936587" y="386906"/>
                  <a:pt x="3921824" y="397478"/>
                  <a:pt x="3907060" y="408146"/>
                </a:cubicBezTo>
                <a:cubicBezTo>
                  <a:pt x="3877056" y="428816"/>
                  <a:pt x="3849243" y="452438"/>
                  <a:pt x="3820573" y="474917"/>
                </a:cubicBezTo>
                <a:cubicBezTo>
                  <a:pt x="3707702" y="567023"/>
                  <a:pt x="3605308" y="671703"/>
                  <a:pt x="3514439" y="785336"/>
                </a:cubicBezTo>
                <a:lnTo>
                  <a:pt x="3514439" y="785527"/>
                </a:lnTo>
                <a:cubicBezTo>
                  <a:pt x="3473291" y="836866"/>
                  <a:pt x="3435477" y="890302"/>
                  <a:pt x="3399377" y="944690"/>
                </a:cubicBezTo>
                <a:cubicBezTo>
                  <a:pt x="3363278" y="999173"/>
                  <a:pt x="3328988" y="1054608"/>
                  <a:pt x="3295460" y="1110329"/>
                </a:cubicBezTo>
                <a:cubicBezTo>
                  <a:pt x="3261932" y="1166146"/>
                  <a:pt x="3229261" y="1222248"/>
                  <a:pt x="3196685" y="1278446"/>
                </a:cubicBezTo>
                <a:cubicBezTo>
                  <a:pt x="3164015" y="1334453"/>
                  <a:pt x="3131249" y="1390460"/>
                  <a:pt x="3098578" y="1446467"/>
                </a:cubicBezTo>
                <a:cubicBezTo>
                  <a:pt x="3065526" y="1502188"/>
                  <a:pt x="3032189" y="1557719"/>
                  <a:pt x="2997803" y="1612487"/>
                </a:cubicBezTo>
                <a:cubicBezTo>
                  <a:pt x="2963418" y="1667256"/>
                  <a:pt x="2928080" y="1721453"/>
                  <a:pt x="2891600" y="1774698"/>
                </a:cubicBezTo>
                <a:cubicBezTo>
                  <a:pt x="2818733" y="1881378"/>
                  <a:pt x="2740247" y="1984058"/>
                  <a:pt x="2654999" y="2080736"/>
                </a:cubicBezTo>
                <a:cubicBezTo>
                  <a:pt x="2612231" y="2128933"/>
                  <a:pt x="2567845" y="2175701"/>
                  <a:pt x="2521839" y="2220659"/>
                </a:cubicBezTo>
                <a:cubicBezTo>
                  <a:pt x="2475452" y="2265331"/>
                  <a:pt x="2427351" y="2308098"/>
                  <a:pt x="2377631" y="2348960"/>
                </a:cubicBezTo>
                <a:cubicBezTo>
                  <a:pt x="2327720" y="2389537"/>
                  <a:pt x="2275808" y="2427637"/>
                  <a:pt x="2222754" y="2463927"/>
                </a:cubicBezTo>
                <a:cubicBezTo>
                  <a:pt x="2169224" y="2499646"/>
                  <a:pt x="2114264" y="2532983"/>
                  <a:pt x="2057876" y="2564035"/>
                </a:cubicBezTo>
                <a:cubicBezTo>
                  <a:pt x="1831848" y="2687288"/>
                  <a:pt x="1583436" y="2767108"/>
                  <a:pt x="1329404" y="2810542"/>
                </a:cubicBezTo>
                <a:cubicBezTo>
                  <a:pt x="1117283" y="2847308"/>
                  <a:pt x="901160" y="2858357"/>
                  <a:pt x="685800" y="2854833"/>
                </a:cubicBezTo>
                <a:lnTo>
                  <a:pt x="643128" y="2853404"/>
                </a:lnTo>
                <a:lnTo>
                  <a:pt x="589788" y="2851690"/>
                </a:lnTo>
                <a:cubicBezTo>
                  <a:pt x="568452" y="2850928"/>
                  <a:pt x="543592" y="2849213"/>
                  <a:pt x="515207" y="2847689"/>
                </a:cubicBezTo>
                <a:cubicBezTo>
                  <a:pt x="401574" y="2840927"/>
                  <a:pt x="231077" y="2826544"/>
                  <a:pt x="5715" y="2791873"/>
                </a:cubicBezTo>
                <a:lnTo>
                  <a:pt x="4286" y="2801302"/>
                </a:lnTo>
                <a:lnTo>
                  <a:pt x="2858" y="2810732"/>
                </a:lnTo>
                <a:lnTo>
                  <a:pt x="1429" y="2820162"/>
                </a:lnTo>
                <a:lnTo>
                  <a:pt x="0" y="2829592"/>
                </a:lnTo>
                <a:cubicBezTo>
                  <a:pt x="226790" y="2864549"/>
                  <a:pt x="398621" y="2879027"/>
                  <a:pt x="513112" y="2885789"/>
                </a:cubicBezTo>
                <a:cubicBezTo>
                  <a:pt x="541782" y="2887313"/>
                  <a:pt x="566833" y="2889123"/>
                  <a:pt x="588359" y="2889885"/>
                </a:cubicBezTo>
                <a:lnTo>
                  <a:pt x="642176" y="2891695"/>
                </a:lnTo>
                <a:lnTo>
                  <a:pt x="685229" y="2893124"/>
                </a:lnTo>
                <a:cubicBezTo>
                  <a:pt x="902684" y="2896648"/>
                  <a:pt x="1121093" y="2885599"/>
                  <a:pt x="1336072" y="2848356"/>
                </a:cubicBezTo>
                <a:cubicBezTo>
                  <a:pt x="1593533" y="2804446"/>
                  <a:pt x="1846136" y="2723293"/>
                  <a:pt x="2076355" y="2597753"/>
                </a:cubicBezTo>
                <a:cubicBezTo>
                  <a:pt x="2133695" y="2566131"/>
                  <a:pt x="2189798" y="2532126"/>
                  <a:pt x="2244185" y="2495836"/>
                </a:cubicBezTo>
                <a:cubicBezTo>
                  <a:pt x="2298287" y="2458974"/>
                  <a:pt x="2351056" y="2420112"/>
                  <a:pt x="2401919" y="2378869"/>
                </a:cubicBezTo>
                <a:cubicBezTo>
                  <a:pt x="2452497" y="2337340"/>
                  <a:pt x="2501456" y="2293811"/>
                  <a:pt x="2548604" y="2248376"/>
                </a:cubicBezTo>
                <a:cubicBezTo>
                  <a:pt x="2595467" y="2202656"/>
                  <a:pt x="2640521" y="2155222"/>
                  <a:pt x="2683859" y="2106359"/>
                </a:cubicBezTo>
                <a:cubicBezTo>
                  <a:pt x="2770251" y="2008251"/>
                  <a:pt x="2849690" y="1904238"/>
                  <a:pt x="2923318" y="1796606"/>
                </a:cubicBezTo>
                <a:cubicBezTo>
                  <a:pt x="2960180" y="1742789"/>
                  <a:pt x="2995803" y="1688211"/>
                  <a:pt x="3030379" y="1633061"/>
                </a:cubicBezTo>
                <a:cubicBezTo>
                  <a:pt x="3064955" y="1577912"/>
                  <a:pt x="3098578" y="1522190"/>
                  <a:pt x="3131630" y="1466183"/>
                </a:cubicBezTo>
                <a:cubicBezTo>
                  <a:pt x="3164396" y="1410081"/>
                  <a:pt x="3197162" y="1353979"/>
                  <a:pt x="3229928" y="1297972"/>
                </a:cubicBezTo>
                <a:cubicBezTo>
                  <a:pt x="3262503" y="1241870"/>
                  <a:pt x="3295174" y="1185863"/>
                  <a:pt x="3328416" y="1130332"/>
                </a:cubicBezTo>
                <a:cubicBezTo>
                  <a:pt x="3361754" y="1074896"/>
                  <a:pt x="3395758" y="1019842"/>
                  <a:pt x="3431381" y="966121"/>
                </a:cubicBezTo>
                <a:cubicBezTo>
                  <a:pt x="3467005" y="912400"/>
                  <a:pt x="3504248" y="859822"/>
                  <a:pt x="3544348" y="809720"/>
                </a:cubicBezTo>
                <a:lnTo>
                  <a:pt x="3544348" y="809530"/>
                </a:lnTo>
                <a:cubicBezTo>
                  <a:pt x="3633788" y="697802"/>
                  <a:pt x="3734372" y="595122"/>
                  <a:pt x="3844957" y="504730"/>
                </a:cubicBezTo>
                <a:cubicBezTo>
                  <a:pt x="3873056" y="482727"/>
                  <a:pt x="3900297" y="459486"/>
                  <a:pt x="3929729" y="439293"/>
                </a:cubicBezTo>
                <a:cubicBezTo>
                  <a:pt x="3944207" y="428816"/>
                  <a:pt x="3958685" y="418433"/>
                  <a:pt x="3973164" y="407956"/>
                </a:cubicBezTo>
                <a:cubicBezTo>
                  <a:pt x="3987927" y="397954"/>
                  <a:pt x="4003072" y="388429"/>
                  <a:pt x="4017931" y="378619"/>
                </a:cubicBezTo>
                <a:cubicBezTo>
                  <a:pt x="4047458" y="358521"/>
                  <a:pt x="4078700" y="341090"/>
                  <a:pt x="4109466" y="322993"/>
                </a:cubicBezTo>
                <a:cubicBezTo>
                  <a:pt x="4124706" y="313658"/>
                  <a:pt x="4140708" y="305848"/>
                  <a:pt x="4156520" y="297371"/>
                </a:cubicBezTo>
                <a:cubicBezTo>
                  <a:pt x="4172331" y="289179"/>
                  <a:pt x="4187952" y="280511"/>
                  <a:pt x="4204050" y="272701"/>
                </a:cubicBezTo>
                <a:cubicBezTo>
                  <a:pt x="4236530" y="257842"/>
                  <a:pt x="4268343" y="241554"/>
                  <a:pt x="4301585" y="228409"/>
                </a:cubicBezTo>
                <a:cubicBezTo>
                  <a:pt x="4318064" y="221647"/>
                  <a:pt x="4334447" y="214408"/>
                  <a:pt x="4351116" y="208026"/>
                </a:cubicBezTo>
                <a:cubicBezTo>
                  <a:pt x="4367879" y="201835"/>
                  <a:pt x="4384643" y="195644"/>
                  <a:pt x="4401312" y="189452"/>
                </a:cubicBezTo>
                <a:cubicBezTo>
                  <a:pt x="4417981" y="182975"/>
                  <a:pt x="4435126" y="177927"/>
                  <a:pt x="4451985" y="172307"/>
                </a:cubicBezTo>
                <a:cubicBezTo>
                  <a:pt x="4469035" y="166878"/>
                  <a:pt x="4485799" y="160877"/>
                  <a:pt x="4503134" y="156305"/>
                </a:cubicBezTo>
                <a:lnTo>
                  <a:pt x="4554665" y="141732"/>
                </a:lnTo>
                <a:lnTo>
                  <a:pt x="4606671" y="128969"/>
                </a:lnTo>
                <a:cubicBezTo>
                  <a:pt x="4623911" y="124492"/>
                  <a:pt x="4641533" y="121158"/>
                  <a:pt x="4658964" y="117539"/>
                </a:cubicBezTo>
                <a:cubicBezTo>
                  <a:pt x="4676394" y="113824"/>
                  <a:pt x="4693920" y="110204"/>
                  <a:pt x="4711542" y="107442"/>
                </a:cubicBezTo>
                <a:cubicBezTo>
                  <a:pt x="4746689" y="100965"/>
                  <a:pt x="4782026" y="96107"/>
                  <a:pt x="4817459" y="91440"/>
                </a:cubicBezTo>
                <a:lnTo>
                  <a:pt x="4870704" y="85725"/>
                </a:lnTo>
                <a:lnTo>
                  <a:pt x="4924140" y="81439"/>
                </a:lnTo>
                <a:cubicBezTo>
                  <a:pt x="4941951" y="80296"/>
                  <a:pt x="4959763" y="79534"/>
                  <a:pt x="4977670" y="78581"/>
                </a:cubicBezTo>
                <a:lnTo>
                  <a:pt x="5031201" y="77153"/>
                </a:lnTo>
                <a:cubicBezTo>
                  <a:pt x="5052727" y="77248"/>
                  <a:pt x="5074349" y="76867"/>
                  <a:pt x="5095875" y="77724"/>
                </a:cubicBezTo>
                <a:cubicBezTo>
                  <a:pt x="5106638" y="78010"/>
                  <a:pt x="5117402" y="78105"/>
                  <a:pt x="5128165" y="78772"/>
                </a:cubicBezTo>
                <a:lnTo>
                  <a:pt x="5160455" y="80391"/>
                </a:lnTo>
                <a:lnTo>
                  <a:pt x="5192649" y="82677"/>
                </a:lnTo>
                <a:cubicBezTo>
                  <a:pt x="5203317" y="83725"/>
                  <a:pt x="5214081" y="84487"/>
                  <a:pt x="5224749" y="85725"/>
                </a:cubicBezTo>
                <a:cubicBezTo>
                  <a:pt x="5235417" y="86868"/>
                  <a:pt x="5246084" y="88011"/>
                  <a:pt x="5256657" y="89535"/>
                </a:cubicBezTo>
                <a:lnTo>
                  <a:pt x="5272469" y="91726"/>
                </a:lnTo>
                <a:lnTo>
                  <a:pt x="5277612" y="92488"/>
                </a:lnTo>
                <a:lnTo>
                  <a:pt x="5277612" y="92488"/>
                </a:lnTo>
                <a:cubicBezTo>
                  <a:pt x="5278851" y="95726"/>
                  <a:pt x="5280089" y="99060"/>
                  <a:pt x="5281327" y="102394"/>
                </a:cubicBezTo>
                <a:cubicBezTo>
                  <a:pt x="5283804" y="109347"/>
                  <a:pt x="5287042" y="115824"/>
                  <a:pt x="5289804" y="122587"/>
                </a:cubicBezTo>
                <a:cubicBezTo>
                  <a:pt x="5307045" y="161734"/>
                  <a:pt x="5327904" y="198882"/>
                  <a:pt x="5350859" y="234601"/>
                </a:cubicBezTo>
                <a:cubicBezTo>
                  <a:pt x="5374387" y="269939"/>
                  <a:pt x="5400008" y="303848"/>
                  <a:pt x="5428107" y="335661"/>
                </a:cubicBezTo>
                <a:cubicBezTo>
                  <a:pt x="5484209" y="399383"/>
                  <a:pt x="5550313" y="454343"/>
                  <a:pt x="5622893" y="498539"/>
                </a:cubicBezTo>
                <a:cubicBezTo>
                  <a:pt x="5695569" y="542639"/>
                  <a:pt x="5775198" y="575120"/>
                  <a:pt x="5857590" y="595217"/>
                </a:cubicBezTo>
                <a:cubicBezTo>
                  <a:pt x="5867877" y="597694"/>
                  <a:pt x="5878068" y="600742"/>
                  <a:pt x="5888546" y="602742"/>
                </a:cubicBezTo>
                <a:lnTo>
                  <a:pt x="5919883" y="608171"/>
                </a:lnTo>
                <a:lnTo>
                  <a:pt x="5951221" y="613505"/>
                </a:lnTo>
                <a:cubicBezTo>
                  <a:pt x="5961698" y="615125"/>
                  <a:pt x="5972270" y="615696"/>
                  <a:pt x="5982843" y="616744"/>
                </a:cubicBezTo>
                <a:lnTo>
                  <a:pt x="6014466" y="619697"/>
                </a:lnTo>
                <a:lnTo>
                  <a:pt x="6030278" y="621125"/>
                </a:lnTo>
                <a:lnTo>
                  <a:pt x="6046089" y="621411"/>
                </a:lnTo>
                <a:lnTo>
                  <a:pt x="6109526" y="622459"/>
                </a:lnTo>
                <a:cubicBezTo>
                  <a:pt x="6151817" y="619792"/>
                  <a:pt x="6194298" y="618935"/>
                  <a:pt x="6236113" y="612362"/>
                </a:cubicBezTo>
                <a:lnTo>
                  <a:pt x="6267545" y="608362"/>
                </a:lnTo>
                <a:cubicBezTo>
                  <a:pt x="6272784" y="607695"/>
                  <a:pt x="6278023" y="607124"/>
                  <a:pt x="6283262" y="606266"/>
                </a:cubicBezTo>
                <a:lnTo>
                  <a:pt x="6298788" y="603218"/>
                </a:lnTo>
                <a:lnTo>
                  <a:pt x="6360986" y="591026"/>
                </a:lnTo>
                <a:cubicBezTo>
                  <a:pt x="6366129" y="589979"/>
                  <a:pt x="6371368" y="589026"/>
                  <a:pt x="6376511" y="587883"/>
                </a:cubicBezTo>
                <a:lnTo>
                  <a:pt x="6391847" y="583883"/>
                </a:lnTo>
                <a:lnTo>
                  <a:pt x="6422422" y="575882"/>
                </a:lnTo>
                <a:lnTo>
                  <a:pt x="6452997" y="567785"/>
                </a:lnTo>
                <a:cubicBezTo>
                  <a:pt x="6463189" y="565023"/>
                  <a:pt x="6473476" y="562642"/>
                  <a:pt x="6483382" y="559118"/>
                </a:cubicBezTo>
                <a:cubicBezTo>
                  <a:pt x="6503384" y="552545"/>
                  <a:pt x="6523387" y="545973"/>
                  <a:pt x="6543390" y="539401"/>
                </a:cubicBezTo>
                <a:lnTo>
                  <a:pt x="6573393" y="529590"/>
                </a:lnTo>
                <a:cubicBezTo>
                  <a:pt x="6583299" y="526066"/>
                  <a:pt x="6593014" y="521970"/>
                  <a:pt x="6602826" y="518255"/>
                </a:cubicBezTo>
                <a:cubicBezTo>
                  <a:pt x="6641878" y="502634"/>
                  <a:pt x="6681597" y="488633"/>
                  <a:pt x="6719507" y="470440"/>
                </a:cubicBezTo>
                <a:cubicBezTo>
                  <a:pt x="6738652" y="461772"/>
                  <a:pt x="6757797" y="453104"/>
                  <a:pt x="6776943" y="444437"/>
                </a:cubicBezTo>
                <a:cubicBezTo>
                  <a:pt x="6796278" y="436150"/>
                  <a:pt x="6814757" y="426149"/>
                  <a:pt x="6833426" y="416719"/>
                </a:cubicBezTo>
                <a:cubicBezTo>
                  <a:pt x="6852095" y="407194"/>
                  <a:pt x="6870764" y="397574"/>
                  <a:pt x="6889433" y="388049"/>
                </a:cubicBezTo>
                <a:cubicBezTo>
                  <a:pt x="6898767" y="383191"/>
                  <a:pt x="6908197" y="378619"/>
                  <a:pt x="6917341" y="373571"/>
                </a:cubicBezTo>
                <a:lnTo>
                  <a:pt x="6944678" y="358045"/>
                </a:lnTo>
                <a:lnTo>
                  <a:pt x="6999256" y="326898"/>
                </a:lnTo>
                <a:cubicBezTo>
                  <a:pt x="7017354" y="316325"/>
                  <a:pt x="7035927" y="306515"/>
                  <a:pt x="7053453" y="295085"/>
                </a:cubicBezTo>
                <a:cubicBezTo>
                  <a:pt x="7053453" y="295085"/>
                  <a:pt x="7086505" y="274320"/>
                  <a:pt x="7152704" y="232886"/>
                </a:cubicBezTo>
                <a:cubicBezTo>
                  <a:pt x="7169468" y="222885"/>
                  <a:pt x="7187184" y="209836"/>
                  <a:pt x="7207472" y="196310"/>
                </a:cubicBezTo>
                <a:cubicBezTo>
                  <a:pt x="7227571" y="182594"/>
                  <a:pt x="7249763" y="167450"/>
                  <a:pt x="7273957" y="150971"/>
                </a:cubicBezTo>
                <a:cubicBezTo>
                  <a:pt x="7298437" y="134874"/>
                  <a:pt x="7323677" y="115729"/>
                  <a:pt x="7351205" y="95631"/>
                </a:cubicBezTo>
                <a:cubicBezTo>
                  <a:pt x="7378637" y="75438"/>
                  <a:pt x="7408164" y="53816"/>
                  <a:pt x="7439502" y="30671"/>
                </a:cubicBezTo>
                <a:close/>
              </a:path>
            </a:pathLst>
          </a:custGeom>
          <a:gradFill>
            <a:gsLst>
              <a:gs pos="93000">
                <a:schemeClr val="accent2">
                  <a:alpha val="0"/>
                </a:schemeClr>
              </a:gs>
              <a:gs pos="17000">
                <a:schemeClr val="accent2">
                  <a:alpha val="0"/>
                </a:schemeClr>
              </a:gs>
              <a:gs pos="72000">
                <a:schemeClr val="accent2"/>
              </a:gs>
              <a:gs pos="38000">
                <a:schemeClr val="accent2"/>
              </a:gs>
            </a:gsLst>
            <a:lin ang="0" scaled="1"/>
          </a:gradFill>
          <a:ln w="0"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7DEEDDB0-F93D-FD1E-F658-EEF14326D21A}"/>
              </a:ext>
            </a:extLst>
          </p:cNvPr>
          <p:cNvSpPr/>
          <p:nvPr userDrawn="1"/>
        </p:nvSpPr>
        <p:spPr>
          <a:xfrm>
            <a:off x="407369" y="1749849"/>
            <a:ext cx="4577195"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l"/>
            <a:r>
              <a:rPr lang="en-US" sz="900">
                <a:solidFill>
                  <a:schemeClr val="bg1"/>
                </a:solidFill>
                <a:effectLst/>
                <a:latin typeface="+mn-lt"/>
              </a:rPr>
              <a:t>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cloud and data, combined with its deep industry expertise and partner ecosystem. The Group reported 2023 global revenues of €22.5 billion.</a:t>
            </a:r>
          </a:p>
        </p:txBody>
      </p:sp>
      <p:sp>
        <p:nvSpPr>
          <p:cNvPr id="7" name="Rectangle 6">
            <a:extLst>
              <a:ext uri="{FF2B5EF4-FFF2-40B4-BE49-F238E27FC236}">
                <a16:creationId xmlns:a16="http://schemas.microsoft.com/office/drawing/2014/main" id="{D3C281B4-C7A8-72F9-55E9-FF6D93F0ED45}"/>
              </a:ext>
            </a:extLst>
          </p:cNvPr>
          <p:cNvSpPr/>
          <p:nvPr userDrawn="1"/>
        </p:nvSpPr>
        <p:spPr>
          <a:xfrm>
            <a:off x="407368" y="351180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US" sz="900">
                <a:solidFill>
                  <a:schemeClr val="bg1"/>
                </a:solidFill>
                <a:effectLst/>
                <a:latin typeface="Ubuntu" panose="020B0504030602030204" pitchFamily="34" charset="0"/>
              </a:rPr>
              <a:t>Get the future you want | </a:t>
            </a:r>
            <a:r>
              <a:rPr lang="en-US" sz="1050">
                <a:solidFill>
                  <a:schemeClr val="accent2"/>
                </a:solidFill>
                <a:latin typeface="Ubuntu" panose="020B0504030602030204" pitchFamily="34" charset="0"/>
              </a:rPr>
              <a:t>www.capgemini.com</a:t>
            </a:r>
          </a:p>
        </p:txBody>
      </p:sp>
      <p:sp>
        <p:nvSpPr>
          <p:cNvPr id="9" name="TextBox 8">
            <a:extLst>
              <a:ext uri="{FF2B5EF4-FFF2-40B4-BE49-F238E27FC236}">
                <a16:creationId xmlns:a16="http://schemas.microsoft.com/office/drawing/2014/main" id="{7C48F32A-B32C-D2CB-5D54-E025B55460BE}"/>
              </a:ext>
            </a:extLst>
          </p:cNvPr>
          <p:cNvSpPr txBox="1"/>
          <p:nvPr userDrawn="1"/>
        </p:nvSpPr>
        <p:spPr>
          <a:xfrm>
            <a:off x="358541" y="1219463"/>
            <a:ext cx="4577195" cy="307777"/>
          </a:xfrm>
          <a:prstGeom prst="rect">
            <a:avLst/>
          </a:prstGeom>
          <a:noFill/>
        </p:spPr>
        <p:txBody>
          <a:bodyPr wrap="square">
            <a:spAutoFit/>
          </a:bodyPr>
          <a:lstStyle/>
          <a:p>
            <a:r>
              <a:rPr kumimoji="0" lang="en-US" sz="1400" b="1" i="0" u="none" strike="noStrike" kern="1200" cap="none" spc="0" normalizeH="0" baseline="0" noProof="0">
                <a:ln>
                  <a:noFill/>
                </a:ln>
                <a:solidFill>
                  <a:schemeClr val="bg1"/>
                </a:solidFill>
                <a:effectLst/>
                <a:uLnTx/>
                <a:uFillTx/>
                <a:latin typeface="+mn-lt"/>
                <a:ea typeface="+mn-ea"/>
                <a:cs typeface="+mn-cs"/>
              </a:rPr>
              <a:t>About Capgemini</a:t>
            </a:r>
            <a:endParaRPr lang="en-US" sz="1400" b="1"/>
          </a:p>
        </p:txBody>
      </p:sp>
    </p:spTree>
    <p:extLst>
      <p:ext uri="{BB962C8B-B14F-4D97-AF65-F5344CB8AC3E}">
        <p14:creationId xmlns:p14="http://schemas.microsoft.com/office/powerpoint/2010/main" val="3520683371"/>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Final Slide dark">
    <p:bg>
      <p:bgPr>
        <a:solidFill>
          <a:srgbClr val="272936"/>
        </a:solidFill>
        <a:effectLst/>
      </p:bgPr>
    </p:bg>
    <p:spTree>
      <p:nvGrpSpPr>
        <p:cNvPr id="1" name=""/>
        <p:cNvGrpSpPr/>
        <p:nvPr/>
      </p:nvGrpSpPr>
      <p:grpSpPr>
        <a:xfrm>
          <a:off x="0" y="0"/>
          <a:ext cx="0" cy="0"/>
          <a:chOff x="0" y="0"/>
          <a:chExt cx="0" cy="0"/>
        </a:xfrm>
      </p:grpSpPr>
      <p:pic>
        <p:nvPicPr>
          <p:cNvPr id="10" name="Picture 7">
            <a:hlinkClick r:id="rId6"/>
            <a:extLst>
              <a:ext uri="{FF2B5EF4-FFF2-40B4-BE49-F238E27FC236}">
                <a16:creationId xmlns:a16="http://schemas.microsoft.com/office/drawing/2014/main" id="{CC55E37E-23F7-AE09-687B-FF0A64465B2C}"/>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11" name="Picture 2">
            <a:hlinkClick r:id="rId8"/>
            <a:extLst>
              <a:ext uri="{FF2B5EF4-FFF2-40B4-BE49-F238E27FC236}">
                <a16:creationId xmlns:a16="http://schemas.microsoft.com/office/drawing/2014/main" id="{A9A234E1-21A9-0562-AA45-77469E965E95}"/>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8897666" y="5571089"/>
            <a:ext cx="333195" cy="333195"/>
          </a:xfrm>
          <a:prstGeom prst="rect">
            <a:avLst/>
          </a:prstGeom>
          <a:noFill/>
        </p:spPr>
      </p:pic>
      <p:pic>
        <p:nvPicPr>
          <p:cNvPr id="12" name="Picture 4">
            <a:hlinkClick r:id="rId10"/>
            <a:extLst>
              <a:ext uri="{FF2B5EF4-FFF2-40B4-BE49-F238E27FC236}">
                <a16:creationId xmlns:a16="http://schemas.microsoft.com/office/drawing/2014/main" id="{D3F9462A-9181-7B6F-0C53-88633CD0910A}"/>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9281043" y="5571089"/>
            <a:ext cx="333195" cy="333195"/>
          </a:xfrm>
          <a:prstGeom prst="rect">
            <a:avLst/>
          </a:prstGeom>
          <a:noFill/>
        </p:spPr>
      </p:pic>
      <p:pic>
        <p:nvPicPr>
          <p:cNvPr id="13" name="Picture 5">
            <a:hlinkClick r:id="rId12"/>
            <a:extLst>
              <a:ext uri="{FF2B5EF4-FFF2-40B4-BE49-F238E27FC236}">
                <a16:creationId xmlns:a16="http://schemas.microsoft.com/office/drawing/2014/main" id="{E06B9B23-CBC0-7D38-E7EC-BE653F10478C}"/>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p:blipFill>
        <p:spPr bwMode="auto">
          <a:xfrm>
            <a:off x="9669687" y="5571089"/>
            <a:ext cx="333195" cy="333195"/>
          </a:xfrm>
          <a:prstGeom prst="rect">
            <a:avLst/>
          </a:prstGeom>
          <a:noFill/>
        </p:spPr>
      </p:pic>
      <p:pic>
        <p:nvPicPr>
          <p:cNvPr id="17" name="Picture 6">
            <a:hlinkClick r:id="rId14"/>
            <a:extLst>
              <a:ext uri="{FF2B5EF4-FFF2-40B4-BE49-F238E27FC236}">
                <a16:creationId xmlns:a16="http://schemas.microsoft.com/office/drawing/2014/main" id="{0057A36D-710A-32C2-2461-BFFF579A0993}"/>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10047796" y="5571089"/>
            <a:ext cx="333195" cy="333195"/>
          </a:xfrm>
          <a:prstGeom prst="rect">
            <a:avLst/>
          </a:prstGeom>
          <a:noFill/>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
        <p:nvSpPr>
          <p:cNvPr id="4" name="Graphic 3">
            <a:extLst>
              <a:ext uri="{FF2B5EF4-FFF2-40B4-BE49-F238E27FC236}">
                <a16:creationId xmlns:a16="http://schemas.microsoft.com/office/drawing/2014/main" id="{8D88D0D6-F7CA-3BAA-9BED-F959B3BD72AB}"/>
              </a:ext>
            </a:extLst>
          </p:cNvPr>
          <p:cNvSpPr/>
          <p:nvPr userDrawn="1"/>
        </p:nvSpPr>
        <p:spPr>
          <a:xfrm>
            <a:off x="3406541" y="3878969"/>
            <a:ext cx="8612170" cy="3349876"/>
          </a:xfrm>
          <a:custGeom>
            <a:avLst/>
            <a:gdLst>
              <a:gd name="connsiteX0" fmla="*/ 7439120 w 7439501"/>
              <a:gd name="connsiteY0" fmla="*/ 30480 h 2893743"/>
              <a:gd name="connsiteX1" fmla="*/ 7433310 w 7439501"/>
              <a:gd name="connsiteY1" fmla="*/ 22860 h 2893743"/>
              <a:gd name="connsiteX2" fmla="*/ 7427500 w 7439501"/>
              <a:gd name="connsiteY2" fmla="*/ 15240 h 2893743"/>
              <a:gd name="connsiteX3" fmla="*/ 7421689 w 7439501"/>
              <a:gd name="connsiteY3" fmla="*/ 7620 h 2893743"/>
              <a:gd name="connsiteX4" fmla="*/ 7415879 w 7439501"/>
              <a:gd name="connsiteY4" fmla="*/ 0 h 2893743"/>
              <a:gd name="connsiteX5" fmla="*/ 7328249 w 7439501"/>
              <a:gd name="connsiteY5" fmla="*/ 64484 h 2893743"/>
              <a:gd name="connsiteX6" fmla="*/ 7251668 w 7439501"/>
              <a:gd name="connsiteY6" fmla="*/ 119444 h 2893743"/>
              <a:gd name="connsiteX7" fmla="*/ 7185756 w 7439501"/>
              <a:gd name="connsiteY7" fmla="*/ 164402 h 2893743"/>
              <a:gd name="connsiteX8" fmla="*/ 7131558 w 7439501"/>
              <a:gd name="connsiteY8" fmla="*/ 200692 h 2893743"/>
              <a:gd name="connsiteX9" fmla="*/ 7033356 w 7439501"/>
              <a:gd name="connsiteY9" fmla="*/ 262223 h 2893743"/>
              <a:gd name="connsiteX10" fmla="*/ 6979730 w 7439501"/>
              <a:gd name="connsiteY10" fmla="*/ 293656 h 2893743"/>
              <a:gd name="connsiteX11" fmla="*/ 6925723 w 7439501"/>
              <a:gd name="connsiteY11" fmla="*/ 324422 h 2893743"/>
              <a:gd name="connsiteX12" fmla="*/ 6898767 w 7439501"/>
              <a:gd name="connsiteY12" fmla="*/ 339852 h 2893743"/>
              <a:gd name="connsiteX13" fmla="*/ 6871240 w 7439501"/>
              <a:gd name="connsiteY13" fmla="*/ 354140 h 2893743"/>
              <a:gd name="connsiteX14" fmla="*/ 6815995 w 7439501"/>
              <a:gd name="connsiteY14" fmla="*/ 382429 h 2893743"/>
              <a:gd name="connsiteX15" fmla="*/ 6760274 w 7439501"/>
              <a:gd name="connsiteY15" fmla="*/ 409766 h 2893743"/>
              <a:gd name="connsiteX16" fmla="*/ 6703790 w 7439501"/>
              <a:gd name="connsiteY16" fmla="*/ 435293 h 2893743"/>
              <a:gd name="connsiteX17" fmla="*/ 6589109 w 7439501"/>
              <a:gd name="connsiteY17" fmla="*/ 482346 h 2893743"/>
              <a:gd name="connsiteX18" fmla="*/ 6560249 w 7439501"/>
              <a:gd name="connsiteY18" fmla="*/ 493490 h 2893743"/>
              <a:gd name="connsiteX19" fmla="*/ 6530817 w 7439501"/>
              <a:gd name="connsiteY19" fmla="*/ 503111 h 2893743"/>
              <a:gd name="connsiteX20" fmla="*/ 6472047 w 7439501"/>
              <a:gd name="connsiteY20" fmla="*/ 522446 h 2893743"/>
              <a:gd name="connsiteX21" fmla="*/ 6442329 w 7439501"/>
              <a:gd name="connsiteY21" fmla="*/ 530924 h 2893743"/>
              <a:gd name="connsiteX22" fmla="*/ 6412421 w 7439501"/>
              <a:gd name="connsiteY22" fmla="*/ 538829 h 2893743"/>
              <a:gd name="connsiteX23" fmla="*/ 6382512 w 7439501"/>
              <a:gd name="connsiteY23" fmla="*/ 546735 h 2893743"/>
              <a:gd name="connsiteX24" fmla="*/ 6367558 w 7439501"/>
              <a:gd name="connsiteY24" fmla="*/ 550640 h 2893743"/>
              <a:gd name="connsiteX25" fmla="*/ 6352413 w 7439501"/>
              <a:gd name="connsiteY25" fmla="*/ 553688 h 2893743"/>
              <a:gd name="connsiteX26" fmla="*/ 6291929 w 7439501"/>
              <a:gd name="connsiteY26" fmla="*/ 565595 h 2893743"/>
              <a:gd name="connsiteX27" fmla="*/ 6276785 w 7439501"/>
              <a:gd name="connsiteY27" fmla="*/ 568547 h 2893743"/>
              <a:gd name="connsiteX28" fmla="*/ 6261545 w 7439501"/>
              <a:gd name="connsiteY28" fmla="*/ 570548 h 2893743"/>
              <a:gd name="connsiteX29" fmla="*/ 6230970 w 7439501"/>
              <a:gd name="connsiteY29" fmla="*/ 574453 h 2893743"/>
              <a:gd name="connsiteX30" fmla="*/ 6108383 w 7439501"/>
              <a:gd name="connsiteY30" fmla="*/ 584264 h 2893743"/>
              <a:gd name="connsiteX31" fmla="*/ 6047232 w 7439501"/>
              <a:gd name="connsiteY31" fmla="*/ 583216 h 2893743"/>
              <a:gd name="connsiteX32" fmla="*/ 6031992 w 7439501"/>
              <a:gd name="connsiteY32" fmla="*/ 582930 h 2893743"/>
              <a:gd name="connsiteX33" fmla="*/ 6016752 w 7439501"/>
              <a:gd name="connsiteY33" fmla="*/ 581501 h 2893743"/>
              <a:gd name="connsiteX34" fmla="*/ 5986368 w 7439501"/>
              <a:gd name="connsiteY34" fmla="*/ 578644 h 2893743"/>
              <a:gd name="connsiteX35" fmla="*/ 5955983 w 7439501"/>
              <a:gd name="connsiteY35" fmla="*/ 575501 h 2893743"/>
              <a:gd name="connsiteX36" fmla="*/ 5925979 w 7439501"/>
              <a:gd name="connsiteY36" fmla="*/ 570357 h 2893743"/>
              <a:gd name="connsiteX37" fmla="*/ 5895975 w 7439501"/>
              <a:gd name="connsiteY37" fmla="*/ 565214 h 2893743"/>
              <a:gd name="connsiteX38" fmla="*/ 5866352 w 7439501"/>
              <a:gd name="connsiteY38" fmla="*/ 557975 h 2893743"/>
              <a:gd name="connsiteX39" fmla="*/ 5642324 w 7439501"/>
              <a:gd name="connsiteY39" fmla="*/ 465773 h 2893743"/>
              <a:gd name="connsiteX40" fmla="*/ 5456397 w 7439501"/>
              <a:gd name="connsiteY40" fmla="*/ 310229 h 2893743"/>
              <a:gd name="connsiteX41" fmla="*/ 5382483 w 7439501"/>
              <a:gd name="connsiteY41" fmla="*/ 213551 h 2893743"/>
              <a:gd name="connsiteX42" fmla="*/ 5324475 w 7439501"/>
              <a:gd name="connsiteY42" fmla="*/ 107061 h 2893743"/>
              <a:gd name="connsiteX43" fmla="*/ 5316474 w 7439501"/>
              <a:gd name="connsiteY43" fmla="*/ 88202 h 2893743"/>
              <a:gd name="connsiteX44" fmla="*/ 5305235 w 7439501"/>
              <a:gd name="connsiteY44" fmla="*/ 58484 h 2893743"/>
              <a:gd name="connsiteX45" fmla="*/ 5304854 w 7439501"/>
              <a:gd name="connsiteY45" fmla="*/ 58388 h 2893743"/>
              <a:gd name="connsiteX46" fmla="*/ 5289233 w 7439501"/>
              <a:gd name="connsiteY46" fmla="*/ 55626 h 2893743"/>
              <a:gd name="connsiteX47" fmla="*/ 5281994 w 7439501"/>
              <a:gd name="connsiteY47" fmla="*/ 54388 h 2893743"/>
              <a:gd name="connsiteX48" fmla="*/ 5277898 w 7439501"/>
              <a:gd name="connsiteY48" fmla="*/ 53816 h 2893743"/>
              <a:gd name="connsiteX49" fmla="*/ 5261420 w 7439501"/>
              <a:gd name="connsiteY49" fmla="*/ 51530 h 2893743"/>
              <a:gd name="connsiteX50" fmla="*/ 5228463 w 7439501"/>
              <a:gd name="connsiteY50" fmla="*/ 47625 h 2893743"/>
              <a:gd name="connsiteX51" fmla="*/ 5195507 w 7439501"/>
              <a:gd name="connsiteY51" fmla="*/ 44577 h 2893743"/>
              <a:gd name="connsiteX52" fmla="*/ 5162550 w 7439501"/>
              <a:gd name="connsiteY52" fmla="*/ 42196 h 2893743"/>
              <a:gd name="connsiteX53" fmla="*/ 5129594 w 7439501"/>
              <a:gd name="connsiteY53" fmla="*/ 40576 h 2893743"/>
              <a:gd name="connsiteX54" fmla="*/ 5096542 w 7439501"/>
              <a:gd name="connsiteY54" fmla="*/ 39529 h 2893743"/>
              <a:gd name="connsiteX55" fmla="*/ 5030534 w 7439501"/>
              <a:gd name="connsiteY55" fmla="*/ 38957 h 2893743"/>
              <a:gd name="connsiteX56" fmla="*/ 4975956 w 7439501"/>
              <a:gd name="connsiteY56" fmla="*/ 40386 h 2893743"/>
              <a:gd name="connsiteX57" fmla="*/ 4921377 w 7439501"/>
              <a:gd name="connsiteY57" fmla="*/ 43244 h 2893743"/>
              <a:gd name="connsiteX58" fmla="*/ 4866894 w 7439501"/>
              <a:gd name="connsiteY58" fmla="*/ 47625 h 2893743"/>
              <a:gd name="connsiteX59" fmla="*/ 4812602 w 7439501"/>
              <a:gd name="connsiteY59" fmla="*/ 53435 h 2893743"/>
              <a:gd name="connsiteX60" fmla="*/ 4704588 w 7439501"/>
              <a:gd name="connsiteY60" fmla="*/ 69723 h 2893743"/>
              <a:gd name="connsiteX61" fmla="*/ 4650962 w 7439501"/>
              <a:gd name="connsiteY61" fmla="*/ 80010 h 2893743"/>
              <a:gd name="connsiteX62" fmla="*/ 4597623 w 7439501"/>
              <a:gd name="connsiteY62" fmla="*/ 91726 h 2893743"/>
              <a:gd name="connsiteX63" fmla="*/ 4544568 w 7439501"/>
              <a:gd name="connsiteY63" fmla="*/ 104775 h 2893743"/>
              <a:gd name="connsiteX64" fmla="*/ 4491990 w 7439501"/>
              <a:gd name="connsiteY64" fmla="*/ 119634 h 2893743"/>
              <a:gd name="connsiteX65" fmla="*/ 4439889 w 7439501"/>
              <a:gd name="connsiteY65" fmla="*/ 135922 h 2893743"/>
              <a:gd name="connsiteX66" fmla="*/ 4388168 w 7439501"/>
              <a:gd name="connsiteY66" fmla="*/ 153448 h 2893743"/>
              <a:gd name="connsiteX67" fmla="*/ 4336923 w 7439501"/>
              <a:gd name="connsiteY67" fmla="*/ 172403 h 2893743"/>
              <a:gd name="connsiteX68" fmla="*/ 4286441 w 7439501"/>
              <a:gd name="connsiteY68" fmla="*/ 193167 h 2893743"/>
              <a:gd name="connsiteX69" fmla="*/ 4186904 w 7439501"/>
              <a:gd name="connsiteY69" fmla="*/ 238316 h 2893743"/>
              <a:gd name="connsiteX70" fmla="*/ 4138422 w 7439501"/>
              <a:gd name="connsiteY70" fmla="*/ 263462 h 2893743"/>
              <a:gd name="connsiteX71" fmla="*/ 4090416 w 7439501"/>
              <a:gd name="connsiteY71" fmla="*/ 289560 h 2893743"/>
              <a:gd name="connsiteX72" fmla="*/ 3997071 w 7439501"/>
              <a:gd name="connsiteY72" fmla="*/ 346329 h 2893743"/>
              <a:gd name="connsiteX73" fmla="*/ 3951351 w 7439501"/>
              <a:gd name="connsiteY73" fmla="*/ 376238 h 2893743"/>
              <a:gd name="connsiteX74" fmla="*/ 3907060 w 7439501"/>
              <a:gd name="connsiteY74" fmla="*/ 408146 h 2893743"/>
              <a:gd name="connsiteX75" fmla="*/ 3820573 w 7439501"/>
              <a:gd name="connsiteY75" fmla="*/ 474917 h 2893743"/>
              <a:gd name="connsiteX76" fmla="*/ 3514439 w 7439501"/>
              <a:gd name="connsiteY76" fmla="*/ 785336 h 2893743"/>
              <a:gd name="connsiteX77" fmla="*/ 3514439 w 7439501"/>
              <a:gd name="connsiteY77" fmla="*/ 785527 h 2893743"/>
              <a:gd name="connsiteX78" fmla="*/ 3399377 w 7439501"/>
              <a:gd name="connsiteY78" fmla="*/ 944690 h 2893743"/>
              <a:gd name="connsiteX79" fmla="*/ 3295460 w 7439501"/>
              <a:gd name="connsiteY79" fmla="*/ 1110329 h 2893743"/>
              <a:gd name="connsiteX80" fmla="*/ 3196685 w 7439501"/>
              <a:gd name="connsiteY80" fmla="*/ 1278446 h 2893743"/>
              <a:gd name="connsiteX81" fmla="*/ 3098578 w 7439501"/>
              <a:gd name="connsiteY81" fmla="*/ 1446467 h 2893743"/>
              <a:gd name="connsiteX82" fmla="*/ 2997803 w 7439501"/>
              <a:gd name="connsiteY82" fmla="*/ 1612487 h 2893743"/>
              <a:gd name="connsiteX83" fmla="*/ 2891600 w 7439501"/>
              <a:gd name="connsiteY83" fmla="*/ 1774698 h 2893743"/>
              <a:gd name="connsiteX84" fmla="*/ 2654999 w 7439501"/>
              <a:gd name="connsiteY84" fmla="*/ 2080736 h 2893743"/>
              <a:gd name="connsiteX85" fmla="*/ 2521839 w 7439501"/>
              <a:gd name="connsiteY85" fmla="*/ 2220659 h 2893743"/>
              <a:gd name="connsiteX86" fmla="*/ 2377631 w 7439501"/>
              <a:gd name="connsiteY86" fmla="*/ 2348960 h 2893743"/>
              <a:gd name="connsiteX87" fmla="*/ 2222754 w 7439501"/>
              <a:gd name="connsiteY87" fmla="*/ 2463927 h 2893743"/>
              <a:gd name="connsiteX88" fmla="*/ 2057876 w 7439501"/>
              <a:gd name="connsiteY88" fmla="*/ 2564035 h 2893743"/>
              <a:gd name="connsiteX89" fmla="*/ 1329404 w 7439501"/>
              <a:gd name="connsiteY89" fmla="*/ 2810542 h 2893743"/>
              <a:gd name="connsiteX90" fmla="*/ 685800 w 7439501"/>
              <a:gd name="connsiteY90" fmla="*/ 2854833 h 2893743"/>
              <a:gd name="connsiteX91" fmla="*/ 643128 w 7439501"/>
              <a:gd name="connsiteY91" fmla="*/ 2853404 h 2893743"/>
              <a:gd name="connsiteX92" fmla="*/ 589788 w 7439501"/>
              <a:gd name="connsiteY92" fmla="*/ 2851690 h 2893743"/>
              <a:gd name="connsiteX93" fmla="*/ 515207 w 7439501"/>
              <a:gd name="connsiteY93" fmla="*/ 2847689 h 2893743"/>
              <a:gd name="connsiteX94" fmla="*/ 5715 w 7439501"/>
              <a:gd name="connsiteY94" fmla="*/ 2791873 h 2893743"/>
              <a:gd name="connsiteX95" fmla="*/ 4286 w 7439501"/>
              <a:gd name="connsiteY95" fmla="*/ 2801302 h 2893743"/>
              <a:gd name="connsiteX96" fmla="*/ 2858 w 7439501"/>
              <a:gd name="connsiteY96" fmla="*/ 2810732 h 2893743"/>
              <a:gd name="connsiteX97" fmla="*/ 1429 w 7439501"/>
              <a:gd name="connsiteY97" fmla="*/ 2820162 h 2893743"/>
              <a:gd name="connsiteX98" fmla="*/ 0 w 7439501"/>
              <a:gd name="connsiteY98" fmla="*/ 2829592 h 2893743"/>
              <a:gd name="connsiteX99" fmla="*/ 513112 w 7439501"/>
              <a:gd name="connsiteY99" fmla="*/ 2885789 h 2893743"/>
              <a:gd name="connsiteX100" fmla="*/ 588359 w 7439501"/>
              <a:gd name="connsiteY100" fmla="*/ 2889885 h 2893743"/>
              <a:gd name="connsiteX101" fmla="*/ 642176 w 7439501"/>
              <a:gd name="connsiteY101" fmla="*/ 2891695 h 2893743"/>
              <a:gd name="connsiteX102" fmla="*/ 685229 w 7439501"/>
              <a:gd name="connsiteY102" fmla="*/ 2893124 h 2893743"/>
              <a:gd name="connsiteX103" fmla="*/ 1336072 w 7439501"/>
              <a:gd name="connsiteY103" fmla="*/ 2848356 h 2893743"/>
              <a:gd name="connsiteX104" fmla="*/ 2076355 w 7439501"/>
              <a:gd name="connsiteY104" fmla="*/ 2597753 h 2893743"/>
              <a:gd name="connsiteX105" fmla="*/ 2244185 w 7439501"/>
              <a:gd name="connsiteY105" fmla="*/ 2495836 h 2893743"/>
              <a:gd name="connsiteX106" fmla="*/ 2401919 w 7439501"/>
              <a:gd name="connsiteY106" fmla="*/ 2378869 h 2893743"/>
              <a:gd name="connsiteX107" fmla="*/ 2548604 w 7439501"/>
              <a:gd name="connsiteY107" fmla="*/ 2248376 h 2893743"/>
              <a:gd name="connsiteX108" fmla="*/ 2683859 w 7439501"/>
              <a:gd name="connsiteY108" fmla="*/ 2106359 h 2893743"/>
              <a:gd name="connsiteX109" fmla="*/ 2923318 w 7439501"/>
              <a:gd name="connsiteY109" fmla="*/ 1796606 h 2893743"/>
              <a:gd name="connsiteX110" fmla="*/ 3030379 w 7439501"/>
              <a:gd name="connsiteY110" fmla="*/ 1633061 h 2893743"/>
              <a:gd name="connsiteX111" fmla="*/ 3131630 w 7439501"/>
              <a:gd name="connsiteY111" fmla="*/ 1466183 h 2893743"/>
              <a:gd name="connsiteX112" fmla="*/ 3229928 w 7439501"/>
              <a:gd name="connsiteY112" fmla="*/ 1297972 h 2893743"/>
              <a:gd name="connsiteX113" fmla="*/ 3328416 w 7439501"/>
              <a:gd name="connsiteY113" fmla="*/ 1130332 h 2893743"/>
              <a:gd name="connsiteX114" fmla="*/ 3431381 w 7439501"/>
              <a:gd name="connsiteY114" fmla="*/ 966121 h 2893743"/>
              <a:gd name="connsiteX115" fmla="*/ 3544348 w 7439501"/>
              <a:gd name="connsiteY115" fmla="*/ 809720 h 2893743"/>
              <a:gd name="connsiteX116" fmla="*/ 3544348 w 7439501"/>
              <a:gd name="connsiteY116" fmla="*/ 809530 h 2893743"/>
              <a:gd name="connsiteX117" fmla="*/ 3844957 w 7439501"/>
              <a:gd name="connsiteY117" fmla="*/ 504730 h 2893743"/>
              <a:gd name="connsiteX118" fmla="*/ 3929729 w 7439501"/>
              <a:gd name="connsiteY118" fmla="*/ 439293 h 2893743"/>
              <a:gd name="connsiteX119" fmla="*/ 3973164 w 7439501"/>
              <a:gd name="connsiteY119" fmla="*/ 407956 h 2893743"/>
              <a:gd name="connsiteX120" fmla="*/ 4017931 w 7439501"/>
              <a:gd name="connsiteY120" fmla="*/ 378619 h 2893743"/>
              <a:gd name="connsiteX121" fmla="*/ 4109466 w 7439501"/>
              <a:gd name="connsiteY121" fmla="*/ 322993 h 2893743"/>
              <a:gd name="connsiteX122" fmla="*/ 4156520 w 7439501"/>
              <a:gd name="connsiteY122" fmla="*/ 297371 h 2893743"/>
              <a:gd name="connsiteX123" fmla="*/ 4204050 w 7439501"/>
              <a:gd name="connsiteY123" fmla="*/ 272701 h 2893743"/>
              <a:gd name="connsiteX124" fmla="*/ 4301585 w 7439501"/>
              <a:gd name="connsiteY124" fmla="*/ 228409 h 2893743"/>
              <a:gd name="connsiteX125" fmla="*/ 4351116 w 7439501"/>
              <a:gd name="connsiteY125" fmla="*/ 208026 h 2893743"/>
              <a:gd name="connsiteX126" fmla="*/ 4401312 w 7439501"/>
              <a:gd name="connsiteY126" fmla="*/ 189452 h 2893743"/>
              <a:gd name="connsiteX127" fmla="*/ 4451985 w 7439501"/>
              <a:gd name="connsiteY127" fmla="*/ 172307 h 2893743"/>
              <a:gd name="connsiteX128" fmla="*/ 4503134 w 7439501"/>
              <a:gd name="connsiteY128" fmla="*/ 156305 h 2893743"/>
              <a:gd name="connsiteX129" fmla="*/ 4554665 w 7439501"/>
              <a:gd name="connsiteY129" fmla="*/ 141732 h 2893743"/>
              <a:gd name="connsiteX130" fmla="*/ 4606671 w 7439501"/>
              <a:gd name="connsiteY130" fmla="*/ 128969 h 2893743"/>
              <a:gd name="connsiteX131" fmla="*/ 4658964 w 7439501"/>
              <a:gd name="connsiteY131" fmla="*/ 117539 h 2893743"/>
              <a:gd name="connsiteX132" fmla="*/ 4711542 w 7439501"/>
              <a:gd name="connsiteY132" fmla="*/ 107442 h 2893743"/>
              <a:gd name="connsiteX133" fmla="*/ 4817459 w 7439501"/>
              <a:gd name="connsiteY133" fmla="*/ 91440 h 2893743"/>
              <a:gd name="connsiteX134" fmla="*/ 4870704 w 7439501"/>
              <a:gd name="connsiteY134" fmla="*/ 85725 h 2893743"/>
              <a:gd name="connsiteX135" fmla="*/ 4924140 w 7439501"/>
              <a:gd name="connsiteY135" fmla="*/ 81439 h 2893743"/>
              <a:gd name="connsiteX136" fmla="*/ 4977670 w 7439501"/>
              <a:gd name="connsiteY136" fmla="*/ 78581 h 2893743"/>
              <a:gd name="connsiteX137" fmla="*/ 5031201 w 7439501"/>
              <a:gd name="connsiteY137" fmla="*/ 77153 h 2893743"/>
              <a:gd name="connsiteX138" fmla="*/ 5095875 w 7439501"/>
              <a:gd name="connsiteY138" fmla="*/ 77724 h 2893743"/>
              <a:gd name="connsiteX139" fmla="*/ 5128165 w 7439501"/>
              <a:gd name="connsiteY139" fmla="*/ 78772 h 2893743"/>
              <a:gd name="connsiteX140" fmla="*/ 5160455 w 7439501"/>
              <a:gd name="connsiteY140" fmla="*/ 80391 h 2893743"/>
              <a:gd name="connsiteX141" fmla="*/ 5192649 w 7439501"/>
              <a:gd name="connsiteY141" fmla="*/ 82677 h 2893743"/>
              <a:gd name="connsiteX142" fmla="*/ 5224749 w 7439501"/>
              <a:gd name="connsiteY142" fmla="*/ 85725 h 2893743"/>
              <a:gd name="connsiteX143" fmla="*/ 5256657 w 7439501"/>
              <a:gd name="connsiteY143" fmla="*/ 89535 h 2893743"/>
              <a:gd name="connsiteX144" fmla="*/ 5272469 w 7439501"/>
              <a:gd name="connsiteY144" fmla="*/ 91726 h 2893743"/>
              <a:gd name="connsiteX145" fmla="*/ 5277612 w 7439501"/>
              <a:gd name="connsiteY145" fmla="*/ 92488 h 2893743"/>
              <a:gd name="connsiteX146" fmla="*/ 5277612 w 7439501"/>
              <a:gd name="connsiteY146" fmla="*/ 92488 h 2893743"/>
              <a:gd name="connsiteX147" fmla="*/ 5281327 w 7439501"/>
              <a:gd name="connsiteY147" fmla="*/ 102394 h 2893743"/>
              <a:gd name="connsiteX148" fmla="*/ 5289804 w 7439501"/>
              <a:gd name="connsiteY148" fmla="*/ 122587 h 2893743"/>
              <a:gd name="connsiteX149" fmla="*/ 5350859 w 7439501"/>
              <a:gd name="connsiteY149" fmla="*/ 234601 h 2893743"/>
              <a:gd name="connsiteX150" fmla="*/ 5428107 w 7439501"/>
              <a:gd name="connsiteY150" fmla="*/ 335661 h 2893743"/>
              <a:gd name="connsiteX151" fmla="*/ 5622893 w 7439501"/>
              <a:gd name="connsiteY151" fmla="*/ 498539 h 2893743"/>
              <a:gd name="connsiteX152" fmla="*/ 5857590 w 7439501"/>
              <a:gd name="connsiteY152" fmla="*/ 595217 h 2893743"/>
              <a:gd name="connsiteX153" fmla="*/ 5888546 w 7439501"/>
              <a:gd name="connsiteY153" fmla="*/ 602742 h 2893743"/>
              <a:gd name="connsiteX154" fmla="*/ 5919883 w 7439501"/>
              <a:gd name="connsiteY154" fmla="*/ 608171 h 2893743"/>
              <a:gd name="connsiteX155" fmla="*/ 5951221 w 7439501"/>
              <a:gd name="connsiteY155" fmla="*/ 613505 h 2893743"/>
              <a:gd name="connsiteX156" fmla="*/ 5982843 w 7439501"/>
              <a:gd name="connsiteY156" fmla="*/ 616744 h 2893743"/>
              <a:gd name="connsiteX157" fmla="*/ 6014466 w 7439501"/>
              <a:gd name="connsiteY157" fmla="*/ 619697 h 2893743"/>
              <a:gd name="connsiteX158" fmla="*/ 6030278 w 7439501"/>
              <a:gd name="connsiteY158" fmla="*/ 621125 h 2893743"/>
              <a:gd name="connsiteX159" fmla="*/ 6046089 w 7439501"/>
              <a:gd name="connsiteY159" fmla="*/ 621411 h 2893743"/>
              <a:gd name="connsiteX160" fmla="*/ 6109526 w 7439501"/>
              <a:gd name="connsiteY160" fmla="*/ 622459 h 2893743"/>
              <a:gd name="connsiteX161" fmla="*/ 6236113 w 7439501"/>
              <a:gd name="connsiteY161" fmla="*/ 612362 h 2893743"/>
              <a:gd name="connsiteX162" fmla="*/ 6267545 w 7439501"/>
              <a:gd name="connsiteY162" fmla="*/ 608362 h 2893743"/>
              <a:gd name="connsiteX163" fmla="*/ 6283262 w 7439501"/>
              <a:gd name="connsiteY163" fmla="*/ 606266 h 2893743"/>
              <a:gd name="connsiteX164" fmla="*/ 6298788 w 7439501"/>
              <a:gd name="connsiteY164" fmla="*/ 603218 h 2893743"/>
              <a:gd name="connsiteX165" fmla="*/ 6360986 w 7439501"/>
              <a:gd name="connsiteY165" fmla="*/ 591026 h 2893743"/>
              <a:gd name="connsiteX166" fmla="*/ 6376511 w 7439501"/>
              <a:gd name="connsiteY166" fmla="*/ 587883 h 2893743"/>
              <a:gd name="connsiteX167" fmla="*/ 6391847 w 7439501"/>
              <a:gd name="connsiteY167" fmla="*/ 583883 h 2893743"/>
              <a:gd name="connsiteX168" fmla="*/ 6422422 w 7439501"/>
              <a:gd name="connsiteY168" fmla="*/ 575882 h 2893743"/>
              <a:gd name="connsiteX169" fmla="*/ 6452997 w 7439501"/>
              <a:gd name="connsiteY169" fmla="*/ 567785 h 2893743"/>
              <a:gd name="connsiteX170" fmla="*/ 6483382 w 7439501"/>
              <a:gd name="connsiteY170" fmla="*/ 559118 h 2893743"/>
              <a:gd name="connsiteX171" fmla="*/ 6543390 w 7439501"/>
              <a:gd name="connsiteY171" fmla="*/ 539401 h 2893743"/>
              <a:gd name="connsiteX172" fmla="*/ 6573393 w 7439501"/>
              <a:gd name="connsiteY172" fmla="*/ 529590 h 2893743"/>
              <a:gd name="connsiteX173" fmla="*/ 6602826 w 7439501"/>
              <a:gd name="connsiteY173" fmla="*/ 518255 h 2893743"/>
              <a:gd name="connsiteX174" fmla="*/ 6719507 w 7439501"/>
              <a:gd name="connsiteY174" fmla="*/ 470440 h 2893743"/>
              <a:gd name="connsiteX175" fmla="*/ 6776943 w 7439501"/>
              <a:gd name="connsiteY175" fmla="*/ 444437 h 2893743"/>
              <a:gd name="connsiteX176" fmla="*/ 6833426 w 7439501"/>
              <a:gd name="connsiteY176" fmla="*/ 416719 h 2893743"/>
              <a:gd name="connsiteX177" fmla="*/ 6889433 w 7439501"/>
              <a:gd name="connsiteY177" fmla="*/ 388049 h 2893743"/>
              <a:gd name="connsiteX178" fmla="*/ 6917341 w 7439501"/>
              <a:gd name="connsiteY178" fmla="*/ 373571 h 2893743"/>
              <a:gd name="connsiteX179" fmla="*/ 6944678 w 7439501"/>
              <a:gd name="connsiteY179" fmla="*/ 358045 h 2893743"/>
              <a:gd name="connsiteX180" fmla="*/ 6999256 w 7439501"/>
              <a:gd name="connsiteY180" fmla="*/ 326898 h 2893743"/>
              <a:gd name="connsiteX181" fmla="*/ 7053453 w 7439501"/>
              <a:gd name="connsiteY181" fmla="*/ 295085 h 2893743"/>
              <a:gd name="connsiteX182" fmla="*/ 7152704 w 7439501"/>
              <a:gd name="connsiteY182" fmla="*/ 232886 h 2893743"/>
              <a:gd name="connsiteX183" fmla="*/ 7207472 w 7439501"/>
              <a:gd name="connsiteY183" fmla="*/ 196310 h 2893743"/>
              <a:gd name="connsiteX184" fmla="*/ 7273957 w 7439501"/>
              <a:gd name="connsiteY184" fmla="*/ 150971 h 2893743"/>
              <a:gd name="connsiteX185" fmla="*/ 7351205 w 7439501"/>
              <a:gd name="connsiteY185" fmla="*/ 95631 h 2893743"/>
              <a:gd name="connsiteX186" fmla="*/ 7439502 w 7439501"/>
              <a:gd name="connsiteY186" fmla="*/ 30671 h 2893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7439501" h="2893743">
                <a:moveTo>
                  <a:pt x="7439120" y="30480"/>
                </a:moveTo>
                <a:lnTo>
                  <a:pt x="7433310" y="22860"/>
                </a:lnTo>
                <a:lnTo>
                  <a:pt x="7427500" y="15240"/>
                </a:lnTo>
                <a:lnTo>
                  <a:pt x="7421689" y="7620"/>
                </a:lnTo>
                <a:lnTo>
                  <a:pt x="7415879" y="0"/>
                </a:lnTo>
                <a:cubicBezTo>
                  <a:pt x="7384733" y="22955"/>
                  <a:pt x="7355491" y="44387"/>
                  <a:pt x="7328249" y="64484"/>
                </a:cubicBezTo>
                <a:cubicBezTo>
                  <a:pt x="7300913" y="84487"/>
                  <a:pt x="7275862" y="103537"/>
                  <a:pt x="7251668" y="119444"/>
                </a:cubicBezTo>
                <a:cubicBezTo>
                  <a:pt x="7227665" y="135731"/>
                  <a:pt x="7205758" y="150781"/>
                  <a:pt x="7185756" y="164402"/>
                </a:cubicBezTo>
                <a:cubicBezTo>
                  <a:pt x="7165658" y="177832"/>
                  <a:pt x="7148132" y="190691"/>
                  <a:pt x="7131558" y="200692"/>
                </a:cubicBezTo>
                <a:cubicBezTo>
                  <a:pt x="7066122" y="241745"/>
                  <a:pt x="7033356" y="262223"/>
                  <a:pt x="7033356" y="262223"/>
                </a:cubicBezTo>
                <a:cubicBezTo>
                  <a:pt x="7016020" y="273558"/>
                  <a:pt x="6997637" y="283274"/>
                  <a:pt x="6979730" y="293656"/>
                </a:cubicBezTo>
                <a:cubicBezTo>
                  <a:pt x="6961727" y="303943"/>
                  <a:pt x="6943725" y="314135"/>
                  <a:pt x="6925723" y="324422"/>
                </a:cubicBezTo>
                <a:lnTo>
                  <a:pt x="6898767" y="339852"/>
                </a:lnTo>
                <a:cubicBezTo>
                  <a:pt x="6889718" y="344805"/>
                  <a:pt x="6880384" y="349377"/>
                  <a:pt x="6871240" y="354140"/>
                </a:cubicBezTo>
                <a:cubicBezTo>
                  <a:pt x="6852857" y="363569"/>
                  <a:pt x="6834378" y="372999"/>
                  <a:pt x="6815995" y="382429"/>
                </a:cubicBezTo>
                <a:cubicBezTo>
                  <a:pt x="6797517" y="391763"/>
                  <a:pt x="6779324" y="401669"/>
                  <a:pt x="6760274" y="409766"/>
                </a:cubicBezTo>
                <a:lnTo>
                  <a:pt x="6703790" y="435293"/>
                </a:lnTo>
                <a:cubicBezTo>
                  <a:pt x="6666452" y="453295"/>
                  <a:pt x="6627496" y="466916"/>
                  <a:pt x="6589109" y="482346"/>
                </a:cubicBezTo>
                <a:cubicBezTo>
                  <a:pt x="6579489" y="486061"/>
                  <a:pt x="6569964" y="490061"/>
                  <a:pt x="6560249" y="493490"/>
                </a:cubicBezTo>
                <a:lnTo>
                  <a:pt x="6530817" y="503111"/>
                </a:lnTo>
                <a:lnTo>
                  <a:pt x="6472047" y="522446"/>
                </a:lnTo>
                <a:cubicBezTo>
                  <a:pt x="6462332" y="525971"/>
                  <a:pt x="6452235" y="528257"/>
                  <a:pt x="6442329" y="530924"/>
                </a:cubicBezTo>
                <a:lnTo>
                  <a:pt x="6412421" y="538829"/>
                </a:lnTo>
                <a:lnTo>
                  <a:pt x="6382512" y="546735"/>
                </a:lnTo>
                <a:lnTo>
                  <a:pt x="6367558" y="550640"/>
                </a:lnTo>
                <a:cubicBezTo>
                  <a:pt x="6362510" y="551783"/>
                  <a:pt x="6357461" y="552641"/>
                  <a:pt x="6352413" y="553688"/>
                </a:cubicBezTo>
                <a:lnTo>
                  <a:pt x="6291929" y="565595"/>
                </a:lnTo>
                <a:lnTo>
                  <a:pt x="6276785" y="568547"/>
                </a:lnTo>
                <a:cubicBezTo>
                  <a:pt x="6271736" y="569309"/>
                  <a:pt x="6266593" y="569881"/>
                  <a:pt x="6261545" y="570548"/>
                </a:cubicBezTo>
                <a:lnTo>
                  <a:pt x="6230970" y="574453"/>
                </a:lnTo>
                <a:cubicBezTo>
                  <a:pt x="6190298" y="580930"/>
                  <a:pt x="6149340" y="581692"/>
                  <a:pt x="6108383" y="584264"/>
                </a:cubicBezTo>
                <a:lnTo>
                  <a:pt x="6047232" y="583216"/>
                </a:lnTo>
                <a:lnTo>
                  <a:pt x="6031992" y="582930"/>
                </a:lnTo>
                <a:lnTo>
                  <a:pt x="6016752" y="581501"/>
                </a:lnTo>
                <a:lnTo>
                  <a:pt x="5986368" y="578644"/>
                </a:lnTo>
                <a:cubicBezTo>
                  <a:pt x="5976271" y="577596"/>
                  <a:pt x="5966079" y="577025"/>
                  <a:pt x="5955983" y="575501"/>
                </a:cubicBezTo>
                <a:lnTo>
                  <a:pt x="5925979" y="570357"/>
                </a:lnTo>
                <a:lnTo>
                  <a:pt x="5895975" y="565214"/>
                </a:lnTo>
                <a:cubicBezTo>
                  <a:pt x="5885974" y="563309"/>
                  <a:pt x="5876258" y="560356"/>
                  <a:pt x="5866352" y="557975"/>
                </a:cubicBezTo>
                <a:cubicBezTo>
                  <a:pt x="5787486" y="538829"/>
                  <a:pt x="5711571" y="507778"/>
                  <a:pt x="5642324" y="465773"/>
                </a:cubicBezTo>
                <a:cubicBezTo>
                  <a:pt x="5573078" y="423672"/>
                  <a:pt x="5510022" y="371285"/>
                  <a:pt x="5456397" y="310229"/>
                </a:cubicBezTo>
                <a:cubicBezTo>
                  <a:pt x="5429536" y="279749"/>
                  <a:pt x="5404961" y="247364"/>
                  <a:pt x="5382483" y="213551"/>
                </a:cubicBezTo>
                <a:cubicBezTo>
                  <a:pt x="5360575" y="179451"/>
                  <a:pt x="5340668" y="143923"/>
                  <a:pt x="5324475" y="107061"/>
                </a:cubicBezTo>
                <a:cubicBezTo>
                  <a:pt x="5321808" y="100775"/>
                  <a:pt x="5318760" y="94583"/>
                  <a:pt x="5316474" y="88202"/>
                </a:cubicBezTo>
                <a:lnTo>
                  <a:pt x="5305235" y="58484"/>
                </a:lnTo>
                <a:cubicBezTo>
                  <a:pt x="5305235" y="58484"/>
                  <a:pt x="5305044" y="58484"/>
                  <a:pt x="5304854" y="58388"/>
                </a:cubicBezTo>
                <a:lnTo>
                  <a:pt x="5289233" y="55626"/>
                </a:lnTo>
                <a:lnTo>
                  <a:pt x="5281994" y="54388"/>
                </a:lnTo>
                <a:lnTo>
                  <a:pt x="5277898" y="53816"/>
                </a:lnTo>
                <a:lnTo>
                  <a:pt x="5261420" y="51530"/>
                </a:lnTo>
                <a:cubicBezTo>
                  <a:pt x="5250466" y="50006"/>
                  <a:pt x="5239417" y="48863"/>
                  <a:pt x="5228463" y="47625"/>
                </a:cubicBezTo>
                <a:cubicBezTo>
                  <a:pt x="5217509" y="46387"/>
                  <a:pt x="5206461" y="45530"/>
                  <a:pt x="5195507" y="44577"/>
                </a:cubicBezTo>
                <a:lnTo>
                  <a:pt x="5162550" y="42196"/>
                </a:lnTo>
                <a:lnTo>
                  <a:pt x="5129594" y="40576"/>
                </a:lnTo>
                <a:cubicBezTo>
                  <a:pt x="5118640" y="39910"/>
                  <a:pt x="5107591" y="39910"/>
                  <a:pt x="5096542" y="39529"/>
                </a:cubicBezTo>
                <a:cubicBezTo>
                  <a:pt x="5074539" y="38767"/>
                  <a:pt x="5052536" y="39148"/>
                  <a:pt x="5030534" y="38957"/>
                </a:cubicBezTo>
                <a:lnTo>
                  <a:pt x="4975956" y="40386"/>
                </a:lnTo>
                <a:cubicBezTo>
                  <a:pt x="4957763" y="41339"/>
                  <a:pt x="4939570" y="42101"/>
                  <a:pt x="4921377" y="43244"/>
                </a:cubicBezTo>
                <a:lnTo>
                  <a:pt x="4866894" y="47625"/>
                </a:lnTo>
                <a:lnTo>
                  <a:pt x="4812602" y="53435"/>
                </a:lnTo>
                <a:cubicBezTo>
                  <a:pt x="4776502" y="58198"/>
                  <a:pt x="4740402" y="63151"/>
                  <a:pt x="4704588" y="69723"/>
                </a:cubicBezTo>
                <a:cubicBezTo>
                  <a:pt x="4686586" y="72581"/>
                  <a:pt x="4668774" y="76295"/>
                  <a:pt x="4650962" y="80010"/>
                </a:cubicBezTo>
                <a:cubicBezTo>
                  <a:pt x="4633151" y="83725"/>
                  <a:pt x="4615244" y="87154"/>
                  <a:pt x="4597623" y="91726"/>
                </a:cubicBezTo>
                <a:lnTo>
                  <a:pt x="4544568" y="104775"/>
                </a:lnTo>
                <a:lnTo>
                  <a:pt x="4491990" y="119634"/>
                </a:lnTo>
                <a:cubicBezTo>
                  <a:pt x="4474369" y="124301"/>
                  <a:pt x="4457224" y="130397"/>
                  <a:pt x="4439889" y="135922"/>
                </a:cubicBezTo>
                <a:cubicBezTo>
                  <a:pt x="4422648" y="141732"/>
                  <a:pt x="4405122" y="146780"/>
                  <a:pt x="4388168" y="153448"/>
                </a:cubicBezTo>
                <a:cubicBezTo>
                  <a:pt x="4371118" y="159734"/>
                  <a:pt x="4353973" y="166116"/>
                  <a:pt x="4336923" y="172403"/>
                </a:cubicBezTo>
                <a:cubicBezTo>
                  <a:pt x="4319874" y="178880"/>
                  <a:pt x="4303300" y="186309"/>
                  <a:pt x="4286441" y="193167"/>
                </a:cubicBezTo>
                <a:cubicBezTo>
                  <a:pt x="4252532" y="206597"/>
                  <a:pt x="4220051" y="223171"/>
                  <a:pt x="4186904" y="238316"/>
                </a:cubicBezTo>
                <a:cubicBezTo>
                  <a:pt x="4170522" y="246221"/>
                  <a:pt x="4154615" y="255080"/>
                  <a:pt x="4138422" y="263462"/>
                </a:cubicBezTo>
                <a:cubicBezTo>
                  <a:pt x="4122325" y="272034"/>
                  <a:pt x="4105942" y="280035"/>
                  <a:pt x="4090416" y="289560"/>
                </a:cubicBezTo>
                <a:cubicBezTo>
                  <a:pt x="4058984" y="308039"/>
                  <a:pt x="4027170" y="325850"/>
                  <a:pt x="3997071" y="346329"/>
                </a:cubicBezTo>
                <a:cubicBezTo>
                  <a:pt x="3981831" y="356330"/>
                  <a:pt x="3966401" y="366046"/>
                  <a:pt x="3951351" y="376238"/>
                </a:cubicBezTo>
                <a:cubicBezTo>
                  <a:pt x="3936587" y="386906"/>
                  <a:pt x="3921824" y="397478"/>
                  <a:pt x="3907060" y="408146"/>
                </a:cubicBezTo>
                <a:cubicBezTo>
                  <a:pt x="3877056" y="428816"/>
                  <a:pt x="3849243" y="452438"/>
                  <a:pt x="3820573" y="474917"/>
                </a:cubicBezTo>
                <a:cubicBezTo>
                  <a:pt x="3707702" y="567023"/>
                  <a:pt x="3605308" y="671703"/>
                  <a:pt x="3514439" y="785336"/>
                </a:cubicBezTo>
                <a:lnTo>
                  <a:pt x="3514439" y="785527"/>
                </a:lnTo>
                <a:cubicBezTo>
                  <a:pt x="3473291" y="836866"/>
                  <a:pt x="3435477" y="890302"/>
                  <a:pt x="3399377" y="944690"/>
                </a:cubicBezTo>
                <a:cubicBezTo>
                  <a:pt x="3363278" y="999173"/>
                  <a:pt x="3328988" y="1054608"/>
                  <a:pt x="3295460" y="1110329"/>
                </a:cubicBezTo>
                <a:cubicBezTo>
                  <a:pt x="3261932" y="1166146"/>
                  <a:pt x="3229261" y="1222248"/>
                  <a:pt x="3196685" y="1278446"/>
                </a:cubicBezTo>
                <a:cubicBezTo>
                  <a:pt x="3164015" y="1334453"/>
                  <a:pt x="3131249" y="1390460"/>
                  <a:pt x="3098578" y="1446467"/>
                </a:cubicBezTo>
                <a:cubicBezTo>
                  <a:pt x="3065526" y="1502188"/>
                  <a:pt x="3032189" y="1557719"/>
                  <a:pt x="2997803" y="1612487"/>
                </a:cubicBezTo>
                <a:cubicBezTo>
                  <a:pt x="2963418" y="1667256"/>
                  <a:pt x="2928080" y="1721453"/>
                  <a:pt x="2891600" y="1774698"/>
                </a:cubicBezTo>
                <a:cubicBezTo>
                  <a:pt x="2818733" y="1881378"/>
                  <a:pt x="2740247" y="1984058"/>
                  <a:pt x="2654999" y="2080736"/>
                </a:cubicBezTo>
                <a:cubicBezTo>
                  <a:pt x="2612231" y="2128933"/>
                  <a:pt x="2567845" y="2175701"/>
                  <a:pt x="2521839" y="2220659"/>
                </a:cubicBezTo>
                <a:cubicBezTo>
                  <a:pt x="2475452" y="2265331"/>
                  <a:pt x="2427351" y="2308098"/>
                  <a:pt x="2377631" y="2348960"/>
                </a:cubicBezTo>
                <a:cubicBezTo>
                  <a:pt x="2327720" y="2389537"/>
                  <a:pt x="2275808" y="2427637"/>
                  <a:pt x="2222754" y="2463927"/>
                </a:cubicBezTo>
                <a:cubicBezTo>
                  <a:pt x="2169224" y="2499646"/>
                  <a:pt x="2114264" y="2532983"/>
                  <a:pt x="2057876" y="2564035"/>
                </a:cubicBezTo>
                <a:cubicBezTo>
                  <a:pt x="1831848" y="2687288"/>
                  <a:pt x="1583436" y="2767108"/>
                  <a:pt x="1329404" y="2810542"/>
                </a:cubicBezTo>
                <a:cubicBezTo>
                  <a:pt x="1117283" y="2847308"/>
                  <a:pt x="901160" y="2858357"/>
                  <a:pt x="685800" y="2854833"/>
                </a:cubicBezTo>
                <a:lnTo>
                  <a:pt x="643128" y="2853404"/>
                </a:lnTo>
                <a:lnTo>
                  <a:pt x="589788" y="2851690"/>
                </a:lnTo>
                <a:cubicBezTo>
                  <a:pt x="568452" y="2850928"/>
                  <a:pt x="543592" y="2849213"/>
                  <a:pt x="515207" y="2847689"/>
                </a:cubicBezTo>
                <a:cubicBezTo>
                  <a:pt x="401574" y="2840927"/>
                  <a:pt x="231077" y="2826544"/>
                  <a:pt x="5715" y="2791873"/>
                </a:cubicBezTo>
                <a:lnTo>
                  <a:pt x="4286" y="2801302"/>
                </a:lnTo>
                <a:lnTo>
                  <a:pt x="2858" y="2810732"/>
                </a:lnTo>
                <a:lnTo>
                  <a:pt x="1429" y="2820162"/>
                </a:lnTo>
                <a:lnTo>
                  <a:pt x="0" y="2829592"/>
                </a:lnTo>
                <a:cubicBezTo>
                  <a:pt x="226790" y="2864549"/>
                  <a:pt x="398621" y="2879027"/>
                  <a:pt x="513112" y="2885789"/>
                </a:cubicBezTo>
                <a:cubicBezTo>
                  <a:pt x="541782" y="2887313"/>
                  <a:pt x="566833" y="2889123"/>
                  <a:pt x="588359" y="2889885"/>
                </a:cubicBezTo>
                <a:lnTo>
                  <a:pt x="642176" y="2891695"/>
                </a:lnTo>
                <a:lnTo>
                  <a:pt x="685229" y="2893124"/>
                </a:lnTo>
                <a:cubicBezTo>
                  <a:pt x="902684" y="2896648"/>
                  <a:pt x="1121093" y="2885599"/>
                  <a:pt x="1336072" y="2848356"/>
                </a:cubicBezTo>
                <a:cubicBezTo>
                  <a:pt x="1593533" y="2804446"/>
                  <a:pt x="1846136" y="2723293"/>
                  <a:pt x="2076355" y="2597753"/>
                </a:cubicBezTo>
                <a:cubicBezTo>
                  <a:pt x="2133695" y="2566131"/>
                  <a:pt x="2189798" y="2532126"/>
                  <a:pt x="2244185" y="2495836"/>
                </a:cubicBezTo>
                <a:cubicBezTo>
                  <a:pt x="2298287" y="2458974"/>
                  <a:pt x="2351056" y="2420112"/>
                  <a:pt x="2401919" y="2378869"/>
                </a:cubicBezTo>
                <a:cubicBezTo>
                  <a:pt x="2452497" y="2337340"/>
                  <a:pt x="2501456" y="2293811"/>
                  <a:pt x="2548604" y="2248376"/>
                </a:cubicBezTo>
                <a:cubicBezTo>
                  <a:pt x="2595467" y="2202656"/>
                  <a:pt x="2640521" y="2155222"/>
                  <a:pt x="2683859" y="2106359"/>
                </a:cubicBezTo>
                <a:cubicBezTo>
                  <a:pt x="2770251" y="2008251"/>
                  <a:pt x="2849690" y="1904238"/>
                  <a:pt x="2923318" y="1796606"/>
                </a:cubicBezTo>
                <a:cubicBezTo>
                  <a:pt x="2960180" y="1742789"/>
                  <a:pt x="2995803" y="1688211"/>
                  <a:pt x="3030379" y="1633061"/>
                </a:cubicBezTo>
                <a:cubicBezTo>
                  <a:pt x="3064955" y="1577912"/>
                  <a:pt x="3098578" y="1522190"/>
                  <a:pt x="3131630" y="1466183"/>
                </a:cubicBezTo>
                <a:cubicBezTo>
                  <a:pt x="3164396" y="1410081"/>
                  <a:pt x="3197162" y="1353979"/>
                  <a:pt x="3229928" y="1297972"/>
                </a:cubicBezTo>
                <a:cubicBezTo>
                  <a:pt x="3262503" y="1241870"/>
                  <a:pt x="3295174" y="1185863"/>
                  <a:pt x="3328416" y="1130332"/>
                </a:cubicBezTo>
                <a:cubicBezTo>
                  <a:pt x="3361754" y="1074896"/>
                  <a:pt x="3395758" y="1019842"/>
                  <a:pt x="3431381" y="966121"/>
                </a:cubicBezTo>
                <a:cubicBezTo>
                  <a:pt x="3467005" y="912400"/>
                  <a:pt x="3504248" y="859822"/>
                  <a:pt x="3544348" y="809720"/>
                </a:cubicBezTo>
                <a:lnTo>
                  <a:pt x="3544348" y="809530"/>
                </a:lnTo>
                <a:cubicBezTo>
                  <a:pt x="3633788" y="697802"/>
                  <a:pt x="3734372" y="595122"/>
                  <a:pt x="3844957" y="504730"/>
                </a:cubicBezTo>
                <a:cubicBezTo>
                  <a:pt x="3873056" y="482727"/>
                  <a:pt x="3900297" y="459486"/>
                  <a:pt x="3929729" y="439293"/>
                </a:cubicBezTo>
                <a:cubicBezTo>
                  <a:pt x="3944207" y="428816"/>
                  <a:pt x="3958685" y="418433"/>
                  <a:pt x="3973164" y="407956"/>
                </a:cubicBezTo>
                <a:cubicBezTo>
                  <a:pt x="3987927" y="397954"/>
                  <a:pt x="4003072" y="388429"/>
                  <a:pt x="4017931" y="378619"/>
                </a:cubicBezTo>
                <a:cubicBezTo>
                  <a:pt x="4047458" y="358521"/>
                  <a:pt x="4078700" y="341090"/>
                  <a:pt x="4109466" y="322993"/>
                </a:cubicBezTo>
                <a:cubicBezTo>
                  <a:pt x="4124706" y="313658"/>
                  <a:pt x="4140708" y="305848"/>
                  <a:pt x="4156520" y="297371"/>
                </a:cubicBezTo>
                <a:cubicBezTo>
                  <a:pt x="4172331" y="289179"/>
                  <a:pt x="4187952" y="280511"/>
                  <a:pt x="4204050" y="272701"/>
                </a:cubicBezTo>
                <a:cubicBezTo>
                  <a:pt x="4236530" y="257842"/>
                  <a:pt x="4268343" y="241554"/>
                  <a:pt x="4301585" y="228409"/>
                </a:cubicBezTo>
                <a:cubicBezTo>
                  <a:pt x="4318064" y="221647"/>
                  <a:pt x="4334447" y="214408"/>
                  <a:pt x="4351116" y="208026"/>
                </a:cubicBezTo>
                <a:cubicBezTo>
                  <a:pt x="4367879" y="201835"/>
                  <a:pt x="4384643" y="195644"/>
                  <a:pt x="4401312" y="189452"/>
                </a:cubicBezTo>
                <a:cubicBezTo>
                  <a:pt x="4417981" y="182975"/>
                  <a:pt x="4435126" y="177927"/>
                  <a:pt x="4451985" y="172307"/>
                </a:cubicBezTo>
                <a:cubicBezTo>
                  <a:pt x="4469035" y="166878"/>
                  <a:pt x="4485799" y="160877"/>
                  <a:pt x="4503134" y="156305"/>
                </a:cubicBezTo>
                <a:lnTo>
                  <a:pt x="4554665" y="141732"/>
                </a:lnTo>
                <a:lnTo>
                  <a:pt x="4606671" y="128969"/>
                </a:lnTo>
                <a:cubicBezTo>
                  <a:pt x="4623911" y="124492"/>
                  <a:pt x="4641533" y="121158"/>
                  <a:pt x="4658964" y="117539"/>
                </a:cubicBezTo>
                <a:cubicBezTo>
                  <a:pt x="4676394" y="113824"/>
                  <a:pt x="4693920" y="110204"/>
                  <a:pt x="4711542" y="107442"/>
                </a:cubicBezTo>
                <a:cubicBezTo>
                  <a:pt x="4746689" y="100965"/>
                  <a:pt x="4782026" y="96107"/>
                  <a:pt x="4817459" y="91440"/>
                </a:cubicBezTo>
                <a:lnTo>
                  <a:pt x="4870704" y="85725"/>
                </a:lnTo>
                <a:lnTo>
                  <a:pt x="4924140" y="81439"/>
                </a:lnTo>
                <a:cubicBezTo>
                  <a:pt x="4941951" y="80296"/>
                  <a:pt x="4959763" y="79534"/>
                  <a:pt x="4977670" y="78581"/>
                </a:cubicBezTo>
                <a:lnTo>
                  <a:pt x="5031201" y="77153"/>
                </a:lnTo>
                <a:cubicBezTo>
                  <a:pt x="5052727" y="77248"/>
                  <a:pt x="5074349" y="76867"/>
                  <a:pt x="5095875" y="77724"/>
                </a:cubicBezTo>
                <a:cubicBezTo>
                  <a:pt x="5106638" y="78010"/>
                  <a:pt x="5117402" y="78105"/>
                  <a:pt x="5128165" y="78772"/>
                </a:cubicBezTo>
                <a:lnTo>
                  <a:pt x="5160455" y="80391"/>
                </a:lnTo>
                <a:lnTo>
                  <a:pt x="5192649" y="82677"/>
                </a:lnTo>
                <a:cubicBezTo>
                  <a:pt x="5203317" y="83725"/>
                  <a:pt x="5214081" y="84487"/>
                  <a:pt x="5224749" y="85725"/>
                </a:cubicBezTo>
                <a:cubicBezTo>
                  <a:pt x="5235417" y="86868"/>
                  <a:pt x="5246084" y="88011"/>
                  <a:pt x="5256657" y="89535"/>
                </a:cubicBezTo>
                <a:lnTo>
                  <a:pt x="5272469" y="91726"/>
                </a:lnTo>
                <a:lnTo>
                  <a:pt x="5277612" y="92488"/>
                </a:lnTo>
                <a:lnTo>
                  <a:pt x="5277612" y="92488"/>
                </a:lnTo>
                <a:cubicBezTo>
                  <a:pt x="5278851" y="95726"/>
                  <a:pt x="5280089" y="99060"/>
                  <a:pt x="5281327" y="102394"/>
                </a:cubicBezTo>
                <a:cubicBezTo>
                  <a:pt x="5283804" y="109347"/>
                  <a:pt x="5287042" y="115824"/>
                  <a:pt x="5289804" y="122587"/>
                </a:cubicBezTo>
                <a:cubicBezTo>
                  <a:pt x="5307045" y="161734"/>
                  <a:pt x="5327904" y="198882"/>
                  <a:pt x="5350859" y="234601"/>
                </a:cubicBezTo>
                <a:cubicBezTo>
                  <a:pt x="5374387" y="269939"/>
                  <a:pt x="5400008" y="303848"/>
                  <a:pt x="5428107" y="335661"/>
                </a:cubicBezTo>
                <a:cubicBezTo>
                  <a:pt x="5484209" y="399383"/>
                  <a:pt x="5550313" y="454343"/>
                  <a:pt x="5622893" y="498539"/>
                </a:cubicBezTo>
                <a:cubicBezTo>
                  <a:pt x="5695569" y="542639"/>
                  <a:pt x="5775198" y="575120"/>
                  <a:pt x="5857590" y="595217"/>
                </a:cubicBezTo>
                <a:cubicBezTo>
                  <a:pt x="5867877" y="597694"/>
                  <a:pt x="5878068" y="600742"/>
                  <a:pt x="5888546" y="602742"/>
                </a:cubicBezTo>
                <a:lnTo>
                  <a:pt x="5919883" y="608171"/>
                </a:lnTo>
                <a:lnTo>
                  <a:pt x="5951221" y="613505"/>
                </a:lnTo>
                <a:cubicBezTo>
                  <a:pt x="5961698" y="615125"/>
                  <a:pt x="5972270" y="615696"/>
                  <a:pt x="5982843" y="616744"/>
                </a:cubicBezTo>
                <a:lnTo>
                  <a:pt x="6014466" y="619697"/>
                </a:lnTo>
                <a:lnTo>
                  <a:pt x="6030278" y="621125"/>
                </a:lnTo>
                <a:lnTo>
                  <a:pt x="6046089" y="621411"/>
                </a:lnTo>
                <a:lnTo>
                  <a:pt x="6109526" y="622459"/>
                </a:lnTo>
                <a:cubicBezTo>
                  <a:pt x="6151817" y="619792"/>
                  <a:pt x="6194298" y="618935"/>
                  <a:pt x="6236113" y="612362"/>
                </a:cubicBezTo>
                <a:lnTo>
                  <a:pt x="6267545" y="608362"/>
                </a:lnTo>
                <a:cubicBezTo>
                  <a:pt x="6272784" y="607695"/>
                  <a:pt x="6278023" y="607124"/>
                  <a:pt x="6283262" y="606266"/>
                </a:cubicBezTo>
                <a:lnTo>
                  <a:pt x="6298788" y="603218"/>
                </a:lnTo>
                <a:lnTo>
                  <a:pt x="6360986" y="591026"/>
                </a:lnTo>
                <a:cubicBezTo>
                  <a:pt x="6366129" y="589979"/>
                  <a:pt x="6371368" y="589026"/>
                  <a:pt x="6376511" y="587883"/>
                </a:cubicBezTo>
                <a:lnTo>
                  <a:pt x="6391847" y="583883"/>
                </a:lnTo>
                <a:lnTo>
                  <a:pt x="6422422" y="575882"/>
                </a:lnTo>
                <a:lnTo>
                  <a:pt x="6452997" y="567785"/>
                </a:lnTo>
                <a:cubicBezTo>
                  <a:pt x="6463189" y="565023"/>
                  <a:pt x="6473476" y="562642"/>
                  <a:pt x="6483382" y="559118"/>
                </a:cubicBezTo>
                <a:cubicBezTo>
                  <a:pt x="6503384" y="552545"/>
                  <a:pt x="6523387" y="545973"/>
                  <a:pt x="6543390" y="539401"/>
                </a:cubicBezTo>
                <a:lnTo>
                  <a:pt x="6573393" y="529590"/>
                </a:lnTo>
                <a:cubicBezTo>
                  <a:pt x="6583299" y="526066"/>
                  <a:pt x="6593014" y="521970"/>
                  <a:pt x="6602826" y="518255"/>
                </a:cubicBezTo>
                <a:cubicBezTo>
                  <a:pt x="6641878" y="502634"/>
                  <a:pt x="6681597" y="488633"/>
                  <a:pt x="6719507" y="470440"/>
                </a:cubicBezTo>
                <a:cubicBezTo>
                  <a:pt x="6738652" y="461772"/>
                  <a:pt x="6757797" y="453104"/>
                  <a:pt x="6776943" y="444437"/>
                </a:cubicBezTo>
                <a:cubicBezTo>
                  <a:pt x="6796278" y="436150"/>
                  <a:pt x="6814757" y="426149"/>
                  <a:pt x="6833426" y="416719"/>
                </a:cubicBezTo>
                <a:cubicBezTo>
                  <a:pt x="6852095" y="407194"/>
                  <a:pt x="6870764" y="397574"/>
                  <a:pt x="6889433" y="388049"/>
                </a:cubicBezTo>
                <a:cubicBezTo>
                  <a:pt x="6898767" y="383191"/>
                  <a:pt x="6908197" y="378619"/>
                  <a:pt x="6917341" y="373571"/>
                </a:cubicBezTo>
                <a:lnTo>
                  <a:pt x="6944678" y="358045"/>
                </a:lnTo>
                <a:lnTo>
                  <a:pt x="6999256" y="326898"/>
                </a:lnTo>
                <a:cubicBezTo>
                  <a:pt x="7017354" y="316325"/>
                  <a:pt x="7035927" y="306515"/>
                  <a:pt x="7053453" y="295085"/>
                </a:cubicBezTo>
                <a:cubicBezTo>
                  <a:pt x="7053453" y="295085"/>
                  <a:pt x="7086505" y="274320"/>
                  <a:pt x="7152704" y="232886"/>
                </a:cubicBezTo>
                <a:cubicBezTo>
                  <a:pt x="7169468" y="222885"/>
                  <a:pt x="7187184" y="209836"/>
                  <a:pt x="7207472" y="196310"/>
                </a:cubicBezTo>
                <a:cubicBezTo>
                  <a:pt x="7227571" y="182594"/>
                  <a:pt x="7249763" y="167450"/>
                  <a:pt x="7273957" y="150971"/>
                </a:cubicBezTo>
                <a:cubicBezTo>
                  <a:pt x="7298437" y="134874"/>
                  <a:pt x="7323677" y="115729"/>
                  <a:pt x="7351205" y="95631"/>
                </a:cubicBezTo>
                <a:cubicBezTo>
                  <a:pt x="7378637" y="75438"/>
                  <a:pt x="7408164" y="53816"/>
                  <a:pt x="7439502" y="30671"/>
                </a:cubicBezTo>
                <a:close/>
              </a:path>
            </a:pathLst>
          </a:custGeom>
          <a:gradFill>
            <a:gsLst>
              <a:gs pos="93000">
                <a:schemeClr val="accent2">
                  <a:alpha val="0"/>
                </a:schemeClr>
              </a:gs>
              <a:gs pos="17000">
                <a:schemeClr val="accent2">
                  <a:alpha val="0"/>
                </a:schemeClr>
              </a:gs>
              <a:gs pos="72000">
                <a:schemeClr val="accent2"/>
              </a:gs>
              <a:gs pos="38000">
                <a:schemeClr val="accent2"/>
              </a:gs>
            </a:gsLst>
            <a:lin ang="0" scaled="1"/>
          </a:gradFill>
          <a:ln w="0"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7DEEDDB0-F93D-FD1E-F658-EEF14326D21A}"/>
              </a:ext>
            </a:extLst>
          </p:cNvPr>
          <p:cNvSpPr/>
          <p:nvPr userDrawn="1"/>
        </p:nvSpPr>
        <p:spPr>
          <a:xfrm>
            <a:off x="407369" y="1749849"/>
            <a:ext cx="4577195"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l"/>
            <a:r>
              <a:rPr lang="en-US" sz="900">
                <a:solidFill>
                  <a:schemeClr val="bg1"/>
                </a:solidFill>
                <a:effectLst/>
                <a:latin typeface="+mn-lt"/>
              </a:rPr>
              <a:t>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cloud and data, combined with its deep industry expertise and partner ecosystem. The Group reported 2023 global revenues of €22.5 billion.</a:t>
            </a:r>
          </a:p>
        </p:txBody>
      </p:sp>
      <p:sp>
        <p:nvSpPr>
          <p:cNvPr id="7" name="Rectangle 6">
            <a:extLst>
              <a:ext uri="{FF2B5EF4-FFF2-40B4-BE49-F238E27FC236}">
                <a16:creationId xmlns:a16="http://schemas.microsoft.com/office/drawing/2014/main" id="{D3C281B4-C7A8-72F9-55E9-FF6D93F0ED45}"/>
              </a:ext>
            </a:extLst>
          </p:cNvPr>
          <p:cNvSpPr/>
          <p:nvPr userDrawn="1"/>
        </p:nvSpPr>
        <p:spPr>
          <a:xfrm>
            <a:off x="407368" y="351180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US" sz="900">
                <a:solidFill>
                  <a:schemeClr val="bg1"/>
                </a:solidFill>
                <a:effectLst/>
                <a:latin typeface="Ubuntu" panose="020B0504030602030204" pitchFamily="34" charset="0"/>
              </a:rPr>
              <a:t>Get the future you want | </a:t>
            </a:r>
            <a:r>
              <a:rPr lang="en-US" sz="1050">
                <a:solidFill>
                  <a:schemeClr val="accent2"/>
                </a:solidFill>
                <a:latin typeface="Ubuntu" panose="020B0504030602030204" pitchFamily="34" charset="0"/>
              </a:rPr>
              <a:t>www.capgemini.com</a:t>
            </a:r>
          </a:p>
        </p:txBody>
      </p:sp>
      <p:sp>
        <p:nvSpPr>
          <p:cNvPr id="9" name="TextBox 8">
            <a:extLst>
              <a:ext uri="{FF2B5EF4-FFF2-40B4-BE49-F238E27FC236}">
                <a16:creationId xmlns:a16="http://schemas.microsoft.com/office/drawing/2014/main" id="{7C48F32A-B32C-D2CB-5D54-E025B55460BE}"/>
              </a:ext>
            </a:extLst>
          </p:cNvPr>
          <p:cNvSpPr txBox="1"/>
          <p:nvPr userDrawn="1"/>
        </p:nvSpPr>
        <p:spPr>
          <a:xfrm>
            <a:off x="358541" y="1219463"/>
            <a:ext cx="4577195" cy="307777"/>
          </a:xfrm>
          <a:prstGeom prst="rect">
            <a:avLst/>
          </a:prstGeom>
          <a:noFill/>
        </p:spPr>
        <p:txBody>
          <a:bodyPr wrap="square">
            <a:spAutoFit/>
          </a:bodyPr>
          <a:lstStyle/>
          <a:p>
            <a:r>
              <a:rPr kumimoji="0" lang="en-US" sz="1400" b="1" i="0" u="none" strike="noStrike" kern="1200" cap="none" spc="0" normalizeH="0" baseline="0" noProof="0">
                <a:ln>
                  <a:noFill/>
                </a:ln>
                <a:solidFill>
                  <a:schemeClr val="bg1"/>
                </a:solidFill>
                <a:effectLst/>
                <a:uLnTx/>
                <a:uFillTx/>
                <a:latin typeface="+mn-lt"/>
                <a:ea typeface="+mn-ea"/>
                <a:cs typeface="+mn-cs"/>
              </a:rPr>
              <a:t>About Capgemini</a:t>
            </a:r>
            <a:endParaRPr lang="en-US" sz="1400" b="1"/>
          </a:p>
        </p:txBody>
      </p:sp>
      <p:sp>
        <p:nvSpPr>
          <p:cNvPr id="5" name="Rectangle 4">
            <a:extLst>
              <a:ext uri="{FF2B5EF4-FFF2-40B4-BE49-F238E27FC236}">
                <a16:creationId xmlns:a16="http://schemas.microsoft.com/office/drawing/2014/main" id="{3948BB92-E200-B02B-9F48-15F4C9CA6A60}"/>
              </a:ext>
            </a:extLst>
          </p:cNvPr>
          <p:cNvSpPr/>
          <p:nvPr userDrawn="1">
            <p:custDataLst>
              <p:tags r:id="rId1"/>
            </p:custDataLst>
          </p:nvPr>
        </p:nvSpPr>
        <p:spPr>
          <a:xfrm>
            <a:off x="6096000" y="854464"/>
            <a:ext cx="2240280" cy="1031051"/>
          </a:xfrm>
          <a:prstGeom prst="rect">
            <a:avLst/>
          </a:prstGeom>
        </p:spPr>
        <p:txBody>
          <a:bodyPr wrap="square" lIns="0" tIns="0" rIns="0" bIns="0">
            <a:spAutoFit/>
          </a:bodyPr>
          <a:lstStyle/>
          <a:p>
            <a:pPr>
              <a:spcAft>
                <a:spcPts val="600"/>
              </a:spcAft>
            </a:pPr>
            <a:r>
              <a:rPr lang="en-US" sz="1200" b="1">
                <a:solidFill>
                  <a:schemeClr val="bg1"/>
                </a:solidFill>
                <a:cs typeface="Arial"/>
              </a:rPr>
              <a:t>Name, Last Name</a:t>
            </a:r>
          </a:p>
          <a:p>
            <a:pPr>
              <a:lnSpc>
                <a:spcPts val="1200"/>
              </a:lnSpc>
            </a:pPr>
            <a:r>
              <a:rPr lang="en-US" sz="1000">
                <a:solidFill>
                  <a:schemeClr val="bg1"/>
                </a:solidFill>
                <a:cs typeface="Arial"/>
              </a:rPr>
              <a:t>Title/Role</a:t>
            </a:r>
          </a:p>
          <a:p>
            <a:pPr>
              <a:lnSpc>
                <a:spcPts val="1200"/>
              </a:lnSpc>
            </a:pPr>
            <a:r>
              <a:rPr lang="en-US" sz="1000">
                <a:solidFill>
                  <a:schemeClr val="bg1"/>
                </a:solidFill>
                <a:cs typeface="Arial"/>
              </a:rPr>
              <a:t>Capgemini Office (Optional)</a:t>
            </a:r>
          </a:p>
          <a:p>
            <a:pPr>
              <a:lnSpc>
                <a:spcPts val="1200"/>
              </a:lnSpc>
            </a:pPr>
            <a:r>
              <a:rPr lang="en-US" sz="1000">
                <a:solidFill>
                  <a:schemeClr val="bg1"/>
                </a:solidFill>
                <a:cs typeface="Arial"/>
              </a:rPr>
              <a:t>Address Line 1</a:t>
            </a:r>
          </a:p>
          <a:p>
            <a:pPr>
              <a:lnSpc>
                <a:spcPts val="1200"/>
              </a:lnSpc>
            </a:pPr>
            <a:r>
              <a:rPr lang="en-US" sz="1000">
                <a:solidFill>
                  <a:schemeClr val="bg1"/>
                </a:solidFill>
                <a:cs typeface="Arial"/>
              </a:rPr>
              <a:t>Address Line 2 </a:t>
            </a:r>
          </a:p>
          <a:p>
            <a:pPr>
              <a:lnSpc>
                <a:spcPts val="1200"/>
              </a:lnSpc>
            </a:pPr>
            <a:r>
              <a:rPr lang="en-US" sz="1000">
                <a:solidFill>
                  <a:schemeClr val="bg1"/>
                </a:solidFill>
                <a:cs typeface="Arial"/>
              </a:rPr>
              <a:t>Address Line 3</a:t>
            </a:r>
          </a:p>
        </p:txBody>
      </p:sp>
      <p:sp>
        <p:nvSpPr>
          <p:cNvPr id="8" name="Rectangle 7">
            <a:extLst>
              <a:ext uri="{FF2B5EF4-FFF2-40B4-BE49-F238E27FC236}">
                <a16:creationId xmlns:a16="http://schemas.microsoft.com/office/drawing/2014/main" id="{9B72FE5E-F82D-19E6-DF67-ACA33D3D9B22}"/>
              </a:ext>
            </a:extLst>
          </p:cNvPr>
          <p:cNvSpPr/>
          <p:nvPr userDrawn="1">
            <p:custDataLst>
              <p:tags r:id="rId2"/>
            </p:custDataLst>
          </p:nvPr>
        </p:nvSpPr>
        <p:spPr>
          <a:xfrm>
            <a:off x="9499996" y="854464"/>
            <a:ext cx="2240280" cy="1031051"/>
          </a:xfrm>
          <a:prstGeom prst="rect">
            <a:avLst/>
          </a:prstGeom>
        </p:spPr>
        <p:txBody>
          <a:bodyPr wrap="square" lIns="0" tIns="0" rIns="0" bIns="0">
            <a:spAutoFit/>
          </a:bodyPr>
          <a:lstStyle/>
          <a:p>
            <a:pPr>
              <a:spcAft>
                <a:spcPts val="600"/>
              </a:spcAft>
            </a:pPr>
            <a:r>
              <a:rPr lang="en-US" sz="1200" b="1">
                <a:solidFill>
                  <a:schemeClr val="bg1"/>
                </a:solidFill>
                <a:cs typeface="Arial"/>
              </a:rPr>
              <a:t>Name, Last Name</a:t>
            </a:r>
          </a:p>
          <a:p>
            <a:pPr>
              <a:lnSpc>
                <a:spcPts val="1200"/>
              </a:lnSpc>
            </a:pPr>
            <a:r>
              <a:rPr lang="en-US" sz="1000">
                <a:solidFill>
                  <a:schemeClr val="bg1"/>
                </a:solidFill>
                <a:cs typeface="Arial"/>
              </a:rPr>
              <a:t>Title/Role</a:t>
            </a:r>
          </a:p>
          <a:p>
            <a:pPr>
              <a:lnSpc>
                <a:spcPts val="1200"/>
              </a:lnSpc>
            </a:pPr>
            <a:r>
              <a:rPr lang="en-US" sz="1000">
                <a:solidFill>
                  <a:schemeClr val="bg1"/>
                </a:solidFill>
                <a:cs typeface="Arial"/>
              </a:rPr>
              <a:t>Capgemini Office (Optional)</a:t>
            </a:r>
          </a:p>
          <a:p>
            <a:pPr>
              <a:lnSpc>
                <a:spcPts val="1200"/>
              </a:lnSpc>
            </a:pPr>
            <a:r>
              <a:rPr lang="en-US" sz="1000">
                <a:solidFill>
                  <a:schemeClr val="bg1"/>
                </a:solidFill>
                <a:cs typeface="Arial"/>
              </a:rPr>
              <a:t>Address Line 1</a:t>
            </a:r>
          </a:p>
          <a:p>
            <a:pPr>
              <a:lnSpc>
                <a:spcPts val="1200"/>
              </a:lnSpc>
            </a:pPr>
            <a:r>
              <a:rPr lang="en-US" sz="1000">
                <a:solidFill>
                  <a:schemeClr val="bg1"/>
                </a:solidFill>
                <a:cs typeface="Arial"/>
              </a:rPr>
              <a:t>Address Line 2 </a:t>
            </a:r>
          </a:p>
          <a:p>
            <a:pPr>
              <a:lnSpc>
                <a:spcPts val="1200"/>
              </a:lnSpc>
            </a:pPr>
            <a:r>
              <a:rPr lang="en-US" sz="1000">
                <a:solidFill>
                  <a:schemeClr val="bg1"/>
                </a:solidFill>
                <a:cs typeface="Arial"/>
              </a:rPr>
              <a:t>Address Line 3</a:t>
            </a:r>
          </a:p>
        </p:txBody>
      </p:sp>
      <p:sp>
        <p:nvSpPr>
          <p:cNvPr id="15" name="Rectangle 14">
            <a:extLst>
              <a:ext uri="{FF2B5EF4-FFF2-40B4-BE49-F238E27FC236}">
                <a16:creationId xmlns:a16="http://schemas.microsoft.com/office/drawing/2014/main" id="{14021807-36BC-E3DA-D010-9CBDCC42B887}"/>
              </a:ext>
            </a:extLst>
          </p:cNvPr>
          <p:cNvSpPr/>
          <p:nvPr userDrawn="1">
            <p:custDataLst>
              <p:tags r:id="rId3"/>
            </p:custDataLst>
          </p:nvPr>
        </p:nvSpPr>
        <p:spPr>
          <a:xfrm>
            <a:off x="6096000" y="2118389"/>
            <a:ext cx="2240280" cy="1031051"/>
          </a:xfrm>
          <a:prstGeom prst="rect">
            <a:avLst/>
          </a:prstGeom>
        </p:spPr>
        <p:txBody>
          <a:bodyPr wrap="square" lIns="0" tIns="0" rIns="0" bIns="0">
            <a:spAutoFit/>
          </a:bodyPr>
          <a:lstStyle/>
          <a:p>
            <a:pPr>
              <a:spcAft>
                <a:spcPts val="600"/>
              </a:spcAft>
            </a:pPr>
            <a:r>
              <a:rPr lang="en-US" sz="1200" b="1">
                <a:solidFill>
                  <a:schemeClr val="bg1"/>
                </a:solidFill>
                <a:cs typeface="Arial"/>
              </a:rPr>
              <a:t>Name, Last Name</a:t>
            </a:r>
          </a:p>
          <a:p>
            <a:pPr>
              <a:lnSpc>
                <a:spcPts val="1200"/>
              </a:lnSpc>
            </a:pPr>
            <a:r>
              <a:rPr lang="en-US" sz="1000">
                <a:solidFill>
                  <a:schemeClr val="bg1"/>
                </a:solidFill>
                <a:cs typeface="Arial"/>
              </a:rPr>
              <a:t>Title/Role</a:t>
            </a:r>
          </a:p>
          <a:p>
            <a:pPr>
              <a:lnSpc>
                <a:spcPts val="1200"/>
              </a:lnSpc>
            </a:pPr>
            <a:r>
              <a:rPr lang="en-US" sz="1000">
                <a:solidFill>
                  <a:schemeClr val="bg1"/>
                </a:solidFill>
                <a:cs typeface="Arial"/>
              </a:rPr>
              <a:t>Capgemini Office (Optional)</a:t>
            </a:r>
          </a:p>
          <a:p>
            <a:pPr>
              <a:lnSpc>
                <a:spcPts val="1200"/>
              </a:lnSpc>
            </a:pPr>
            <a:r>
              <a:rPr lang="en-US" sz="1000">
                <a:solidFill>
                  <a:schemeClr val="bg1"/>
                </a:solidFill>
                <a:cs typeface="Arial"/>
              </a:rPr>
              <a:t>Address Line 1</a:t>
            </a:r>
          </a:p>
          <a:p>
            <a:pPr>
              <a:lnSpc>
                <a:spcPts val="1200"/>
              </a:lnSpc>
            </a:pPr>
            <a:r>
              <a:rPr lang="en-US" sz="1000">
                <a:solidFill>
                  <a:schemeClr val="bg1"/>
                </a:solidFill>
                <a:cs typeface="Arial"/>
              </a:rPr>
              <a:t>Address Line 2 </a:t>
            </a:r>
          </a:p>
          <a:p>
            <a:pPr>
              <a:lnSpc>
                <a:spcPts val="1200"/>
              </a:lnSpc>
            </a:pPr>
            <a:r>
              <a:rPr lang="en-US" sz="1000">
                <a:solidFill>
                  <a:schemeClr val="bg1"/>
                </a:solidFill>
                <a:cs typeface="Arial"/>
              </a:rPr>
              <a:t>Address Line 3</a:t>
            </a:r>
          </a:p>
        </p:txBody>
      </p:sp>
      <p:sp>
        <p:nvSpPr>
          <p:cNvPr id="21" name="Rectangle 20">
            <a:extLst>
              <a:ext uri="{FF2B5EF4-FFF2-40B4-BE49-F238E27FC236}">
                <a16:creationId xmlns:a16="http://schemas.microsoft.com/office/drawing/2014/main" id="{13F8D821-DB56-E4C1-4149-6C5BCD64F679}"/>
              </a:ext>
            </a:extLst>
          </p:cNvPr>
          <p:cNvSpPr/>
          <p:nvPr userDrawn="1">
            <p:custDataLst>
              <p:tags r:id="rId4"/>
            </p:custDataLst>
          </p:nvPr>
        </p:nvSpPr>
        <p:spPr>
          <a:xfrm>
            <a:off x="9499996" y="2118389"/>
            <a:ext cx="2240280" cy="1031051"/>
          </a:xfrm>
          <a:prstGeom prst="rect">
            <a:avLst/>
          </a:prstGeom>
        </p:spPr>
        <p:txBody>
          <a:bodyPr wrap="square" lIns="0" tIns="0" rIns="0" bIns="0">
            <a:spAutoFit/>
          </a:bodyPr>
          <a:lstStyle/>
          <a:p>
            <a:pPr>
              <a:spcAft>
                <a:spcPts val="600"/>
              </a:spcAft>
            </a:pPr>
            <a:r>
              <a:rPr lang="en-US" sz="1200" b="1">
                <a:solidFill>
                  <a:schemeClr val="bg1"/>
                </a:solidFill>
                <a:cs typeface="Arial"/>
              </a:rPr>
              <a:t>Name, Last Name</a:t>
            </a:r>
          </a:p>
          <a:p>
            <a:pPr>
              <a:lnSpc>
                <a:spcPts val="1200"/>
              </a:lnSpc>
            </a:pPr>
            <a:r>
              <a:rPr lang="en-US" sz="1000">
                <a:solidFill>
                  <a:schemeClr val="bg1"/>
                </a:solidFill>
                <a:cs typeface="Arial"/>
              </a:rPr>
              <a:t>Title/Role</a:t>
            </a:r>
          </a:p>
          <a:p>
            <a:pPr>
              <a:lnSpc>
                <a:spcPts val="1200"/>
              </a:lnSpc>
            </a:pPr>
            <a:r>
              <a:rPr lang="en-US" sz="1000">
                <a:solidFill>
                  <a:schemeClr val="bg1"/>
                </a:solidFill>
                <a:cs typeface="Arial"/>
              </a:rPr>
              <a:t>Capgemini Office (Optional)</a:t>
            </a:r>
          </a:p>
          <a:p>
            <a:pPr>
              <a:lnSpc>
                <a:spcPts val="1200"/>
              </a:lnSpc>
            </a:pPr>
            <a:r>
              <a:rPr lang="en-US" sz="1000">
                <a:solidFill>
                  <a:schemeClr val="bg1"/>
                </a:solidFill>
                <a:cs typeface="Arial"/>
              </a:rPr>
              <a:t>Address Line 1</a:t>
            </a:r>
          </a:p>
          <a:p>
            <a:pPr>
              <a:lnSpc>
                <a:spcPts val="1200"/>
              </a:lnSpc>
            </a:pPr>
            <a:r>
              <a:rPr lang="en-US" sz="1000">
                <a:solidFill>
                  <a:schemeClr val="bg1"/>
                </a:solidFill>
                <a:cs typeface="Arial"/>
              </a:rPr>
              <a:t>Address Line 2 </a:t>
            </a:r>
          </a:p>
          <a:p>
            <a:pPr>
              <a:lnSpc>
                <a:spcPts val="1200"/>
              </a:lnSpc>
            </a:pPr>
            <a:r>
              <a:rPr lang="en-US" sz="1000">
                <a:solidFill>
                  <a:schemeClr val="bg1"/>
                </a:solidFill>
                <a:cs typeface="Arial"/>
              </a:rPr>
              <a:t>Address Line 3</a:t>
            </a:r>
          </a:p>
        </p:txBody>
      </p:sp>
    </p:spTree>
    <p:extLst>
      <p:ext uri="{BB962C8B-B14F-4D97-AF65-F5344CB8AC3E}">
        <p14:creationId xmlns:p14="http://schemas.microsoft.com/office/powerpoint/2010/main" val="2020362479"/>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Final Slide white">
    <p:bg>
      <p:bgPr>
        <a:solidFill>
          <a:schemeClr val="bg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771C8D6D-C61C-2819-3276-89D365F7CAE8}"/>
              </a:ext>
            </a:extLst>
          </p:cNvPr>
          <p:cNvSpPr/>
          <p:nvPr userDrawn="1"/>
        </p:nvSpPr>
        <p:spPr>
          <a:xfrm>
            <a:off x="8554179" y="6053226"/>
            <a:ext cx="3242029" cy="400110"/>
          </a:xfrm>
          <a:prstGeom prst="rect">
            <a:avLst/>
          </a:prstGeom>
        </p:spPr>
        <p:txBody>
          <a:bodyPr wrap="square" lIns="0" tIns="0" rIns="0" bIns="0" anchor="b" anchorCtr="0">
            <a:spAutoFit/>
          </a:bodyPr>
          <a:lstStyle/>
          <a:p>
            <a:pPr>
              <a:spcAft>
                <a:spcPts val="600"/>
              </a:spcAft>
            </a:pPr>
            <a:r>
              <a:rPr lang="en-US" sz="700" noProof="0">
                <a:solidFill>
                  <a:schemeClr val="tx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tx1"/>
                </a:solidFill>
                <a:latin typeface="+mn-lt"/>
                <a:cs typeface="Arial"/>
              </a:rPr>
              <a:t>Copyright © 2024 Capgemini. All rights reserved.</a:t>
            </a:r>
          </a:p>
        </p:txBody>
      </p:sp>
      <p:pic>
        <p:nvPicPr>
          <p:cNvPr id="26" name="Picture 7">
            <a:hlinkClick r:id="rId2"/>
            <a:extLst>
              <a:ext uri="{FF2B5EF4-FFF2-40B4-BE49-F238E27FC236}">
                <a16:creationId xmlns:a16="http://schemas.microsoft.com/office/drawing/2014/main" id="{23996BED-DA79-7795-E8CC-89B8B4F54B9E}"/>
              </a:ext>
            </a:extLst>
          </p:cNvPr>
          <p:cNvPicPr>
            <a:picLocks noChangeAspect="1" noChangeArrowheads="1"/>
          </p:cNvPicPr>
          <p:nvPr userDrawn="1"/>
        </p:nvPicPr>
        <p:blipFill>
          <a:blip r:embed="rId3" cstate="screen">
            <a:duotone>
              <a:prstClr val="black"/>
              <a:schemeClr val="accent4">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522933" y="5569299"/>
            <a:ext cx="333195" cy="333195"/>
          </a:xfrm>
          <a:prstGeom prst="rect">
            <a:avLst/>
          </a:prstGeom>
          <a:noFill/>
        </p:spPr>
      </p:pic>
      <p:pic>
        <p:nvPicPr>
          <p:cNvPr id="27" name="Picture 2">
            <a:hlinkClick r:id="rId5"/>
            <a:extLst>
              <a:ext uri="{FF2B5EF4-FFF2-40B4-BE49-F238E27FC236}">
                <a16:creationId xmlns:a16="http://schemas.microsoft.com/office/drawing/2014/main" id="{41F22088-9EDE-E75E-205B-071BC64768AD}"/>
              </a:ext>
            </a:extLst>
          </p:cNvPr>
          <p:cNvPicPr>
            <a:picLocks noChangeAspect="1" noChangeArrowheads="1"/>
          </p:cNvPicPr>
          <p:nvPr userDrawn="1"/>
        </p:nvPicPr>
        <p:blipFill>
          <a:blip r:embed="rId6" cstate="screen">
            <a:duotone>
              <a:prstClr val="black"/>
              <a:schemeClr val="accent4">
                <a:tint val="45000"/>
                <a:satMod val="400000"/>
              </a:schemeClr>
            </a:duotone>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906310" y="5569299"/>
            <a:ext cx="333195" cy="333195"/>
          </a:xfrm>
          <a:prstGeom prst="rect">
            <a:avLst/>
          </a:prstGeom>
          <a:noFill/>
        </p:spPr>
      </p:pic>
      <p:pic>
        <p:nvPicPr>
          <p:cNvPr id="28" name="Picture 4">
            <a:hlinkClick r:id="rId8"/>
            <a:extLst>
              <a:ext uri="{FF2B5EF4-FFF2-40B4-BE49-F238E27FC236}">
                <a16:creationId xmlns:a16="http://schemas.microsoft.com/office/drawing/2014/main" id="{4B0CCAD4-0758-D6B9-EFF6-02B94D32DE46}"/>
              </a:ext>
            </a:extLst>
          </p:cNvPr>
          <p:cNvPicPr>
            <a:picLocks noChangeAspect="1" noChangeArrowheads="1"/>
          </p:cNvPicPr>
          <p:nvPr userDrawn="1"/>
        </p:nvPicPr>
        <p:blipFill>
          <a:blip r:embed="rId9" cstate="screen">
            <a:duotone>
              <a:prstClr val="black"/>
              <a:schemeClr val="accent4">
                <a:tint val="45000"/>
                <a:satMod val="400000"/>
              </a:schemeClr>
            </a:duoton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289687" y="5569299"/>
            <a:ext cx="333195" cy="333195"/>
          </a:xfrm>
          <a:prstGeom prst="rect">
            <a:avLst/>
          </a:prstGeom>
          <a:noFill/>
        </p:spPr>
      </p:pic>
      <p:pic>
        <p:nvPicPr>
          <p:cNvPr id="29" name="Picture 5">
            <a:hlinkClick r:id="rId11"/>
            <a:extLst>
              <a:ext uri="{FF2B5EF4-FFF2-40B4-BE49-F238E27FC236}">
                <a16:creationId xmlns:a16="http://schemas.microsoft.com/office/drawing/2014/main" id="{97173D96-104B-3123-C00C-3C171ADC2E69}"/>
              </a:ext>
            </a:extLst>
          </p:cNvPr>
          <p:cNvPicPr>
            <a:picLocks noChangeAspect="1" noChangeArrowheads="1"/>
          </p:cNvPicPr>
          <p:nvPr userDrawn="1"/>
        </p:nvPicPr>
        <p:blipFill>
          <a:blip r:embed="rId12" cstate="screen">
            <a:duotone>
              <a:prstClr val="black"/>
              <a:schemeClr val="accent4">
                <a:tint val="45000"/>
                <a:satMod val="400000"/>
              </a:schemeClr>
            </a:duotone>
            <a:extLst>
              <a:ext uri="{BEBA8EAE-BF5A-486C-A8C5-ECC9F3942E4B}">
                <a14:imgProps xmlns:a14="http://schemas.microsoft.com/office/drawing/2010/main">
                  <a14:imgLayer r:embed="rId13">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9673064" y="5569299"/>
            <a:ext cx="333195" cy="333195"/>
          </a:xfrm>
          <a:prstGeom prst="rect">
            <a:avLst/>
          </a:prstGeom>
          <a:noFill/>
        </p:spPr>
      </p:pic>
      <p:pic>
        <p:nvPicPr>
          <p:cNvPr id="30" name="Picture 6">
            <a:hlinkClick r:id="rId14"/>
            <a:extLst>
              <a:ext uri="{FF2B5EF4-FFF2-40B4-BE49-F238E27FC236}">
                <a16:creationId xmlns:a16="http://schemas.microsoft.com/office/drawing/2014/main" id="{97D8A9F7-9109-48D0-0781-197117BF809D}"/>
              </a:ext>
            </a:extLst>
          </p:cNvPr>
          <p:cNvPicPr>
            <a:picLocks noChangeAspect="1" noChangeArrowheads="1"/>
          </p:cNvPicPr>
          <p:nvPr userDrawn="1"/>
        </p:nvPicPr>
        <p:blipFill>
          <a:blip r:embed="rId15" cstate="screen">
            <a:duotone>
              <a:prstClr val="black"/>
              <a:schemeClr val="accent4">
                <a:tint val="45000"/>
                <a:satMod val="400000"/>
              </a:schemeClr>
            </a:duotone>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0056440" y="5569299"/>
            <a:ext cx="333195" cy="333195"/>
          </a:xfrm>
          <a:prstGeom prst="rect">
            <a:avLst/>
          </a:prstGeom>
          <a:noFill/>
        </p:spPr>
      </p:pic>
      <p:grpSp>
        <p:nvGrpSpPr>
          <p:cNvPr id="2" name="Group 1">
            <a:extLst>
              <a:ext uri="{FF2B5EF4-FFF2-40B4-BE49-F238E27FC236}">
                <a16:creationId xmlns:a16="http://schemas.microsoft.com/office/drawing/2014/main" id="{FE4C124A-1677-5379-4F1F-D80E084B6A07}"/>
              </a:ext>
            </a:extLst>
          </p:cNvPr>
          <p:cNvGrpSpPr>
            <a:grpSpLocks noChangeAspect="1"/>
          </p:cNvGrpSpPr>
          <p:nvPr userDrawn="1"/>
        </p:nvGrpSpPr>
        <p:grpSpPr>
          <a:xfrm>
            <a:off x="443236" y="6021288"/>
            <a:ext cx="1872000" cy="420870"/>
            <a:chOff x="5095385" y="4090756"/>
            <a:chExt cx="3033729" cy="682053"/>
          </a:xfrm>
        </p:grpSpPr>
        <p:sp>
          <p:nvSpPr>
            <p:cNvPr id="3" name="Freeform: Shape 2">
              <a:extLst>
                <a:ext uri="{FF2B5EF4-FFF2-40B4-BE49-F238E27FC236}">
                  <a16:creationId xmlns:a16="http://schemas.microsoft.com/office/drawing/2014/main" id="{17CD1832-464E-8F19-D1FF-C26D2A4008C4}"/>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4" name="Freeform: Shape 3">
              <a:extLst>
                <a:ext uri="{FF2B5EF4-FFF2-40B4-BE49-F238E27FC236}">
                  <a16:creationId xmlns:a16="http://schemas.microsoft.com/office/drawing/2014/main" id="{A27580D5-10C4-1378-1B16-22D2C6577A5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5" name="Freeform: Shape 4">
              <a:extLst>
                <a:ext uri="{FF2B5EF4-FFF2-40B4-BE49-F238E27FC236}">
                  <a16:creationId xmlns:a16="http://schemas.microsoft.com/office/drawing/2014/main" id="{8296E9CB-B7F8-9F5C-5A91-CC70339F4284}"/>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6" name="Freeform: Shape 14">
              <a:extLst>
                <a:ext uri="{FF2B5EF4-FFF2-40B4-BE49-F238E27FC236}">
                  <a16:creationId xmlns:a16="http://schemas.microsoft.com/office/drawing/2014/main" id="{4046F42C-B4B1-F5B5-97B0-295157FB511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7" name="Freeform: Shape 20">
              <a:extLst>
                <a:ext uri="{FF2B5EF4-FFF2-40B4-BE49-F238E27FC236}">
                  <a16:creationId xmlns:a16="http://schemas.microsoft.com/office/drawing/2014/main" id="{B9876A18-1EED-B3A2-6F45-2D9C7CE3D38D}"/>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
        <p:nvSpPr>
          <p:cNvPr id="8" name="Graphic 3">
            <a:extLst>
              <a:ext uri="{FF2B5EF4-FFF2-40B4-BE49-F238E27FC236}">
                <a16:creationId xmlns:a16="http://schemas.microsoft.com/office/drawing/2014/main" id="{D7B3F311-569E-8E1C-0528-40F4AA1DD544}"/>
              </a:ext>
            </a:extLst>
          </p:cNvPr>
          <p:cNvSpPr/>
          <p:nvPr userDrawn="1"/>
        </p:nvSpPr>
        <p:spPr>
          <a:xfrm>
            <a:off x="3406541" y="3878969"/>
            <a:ext cx="8612170" cy="3349876"/>
          </a:xfrm>
          <a:custGeom>
            <a:avLst/>
            <a:gdLst>
              <a:gd name="connsiteX0" fmla="*/ 7439120 w 7439501"/>
              <a:gd name="connsiteY0" fmla="*/ 30480 h 2893743"/>
              <a:gd name="connsiteX1" fmla="*/ 7433310 w 7439501"/>
              <a:gd name="connsiteY1" fmla="*/ 22860 h 2893743"/>
              <a:gd name="connsiteX2" fmla="*/ 7427500 w 7439501"/>
              <a:gd name="connsiteY2" fmla="*/ 15240 h 2893743"/>
              <a:gd name="connsiteX3" fmla="*/ 7421689 w 7439501"/>
              <a:gd name="connsiteY3" fmla="*/ 7620 h 2893743"/>
              <a:gd name="connsiteX4" fmla="*/ 7415879 w 7439501"/>
              <a:gd name="connsiteY4" fmla="*/ 0 h 2893743"/>
              <a:gd name="connsiteX5" fmla="*/ 7328249 w 7439501"/>
              <a:gd name="connsiteY5" fmla="*/ 64484 h 2893743"/>
              <a:gd name="connsiteX6" fmla="*/ 7251668 w 7439501"/>
              <a:gd name="connsiteY6" fmla="*/ 119444 h 2893743"/>
              <a:gd name="connsiteX7" fmla="*/ 7185756 w 7439501"/>
              <a:gd name="connsiteY7" fmla="*/ 164402 h 2893743"/>
              <a:gd name="connsiteX8" fmla="*/ 7131558 w 7439501"/>
              <a:gd name="connsiteY8" fmla="*/ 200692 h 2893743"/>
              <a:gd name="connsiteX9" fmla="*/ 7033356 w 7439501"/>
              <a:gd name="connsiteY9" fmla="*/ 262223 h 2893743"/>
              <a:gd name="connsiteX10" fmla="*/ 6979730 w 7439501"/>
              <a:gd name="connsiteY10" fmla="*/ 293656 h 2893743"/>
              <a:gd name="connsiteX11" fmla="*/ 6925723 w 7439501"/>
              <a:gd name="connsiteY11" fmla="*/ 324422 h 2893743"/>
              <a:gd name="connsiteX12" fmla="*/ 6898767 w 7439501"/>
              <a:gd name="connsiteY12" fmla="*/ 339852 h 2893743"/>
              <a:gd name="connsiteX13" fmla="*/ 6871240 w 7439501"/>
              <a:gd name="connsiteY13" fmla="*/ 354140 h 2893743"/>
              <a:gd name="connsiteX14" fmla="*/ 6815995 w 7439501"/>
              <a:gd name="connsiteY14" fmla="*/ 382429 h 2893743"/>
              <a:gd name="connsiteX15" fmla="*/ 6760274 w 7439501"/>
              <a:gd name="connsiteY15" fmla="*/ 409766 h 2893743"/>
              <a:gd name="connsiteX16" fmla="*/ 6703790 w 7439501"/>
              <a:gd name="connsiteY16" fmla="*/ 435293 h 2893743"/>
              <a:gd name="connsiteX17" fmla="*/ 6589109 w 7439501"/>
              <a:gd name="connsiteY17" fmla="*/ 482346 h 2893743"/>
              <a:gd name="connsiteX18" fmla="*/ 6560249 w 7439501"/>
              <a:gd name="connsiteY18" fmla="*/ 493490 h 2893743"/>
              <a:gd name="connsiteX19" fmla="*/ 6530817 w 7439501"/>
              <a:gd name="connsiteY19" fmla="*/ 503111 h 2893743"/>
              <a:gd name="connsiteX20" fmla="*/ 6472047 w 7439501"/>
              <a:gd name="connsiteY20" fmla="*/ 522446 h 2893743"/>
              <a:gd name="connsiteX21" fmla="*/ 6442329 w 7439501"/>
              <a:gd name="connsiteY21" fmla="*/ 530924 h 2893743"/>
              <a:gd name="connsiteX22" fmla="*/ 6412421 w 7439501"/>
              <a:gd name="connsiteY22" fmla="*/ 538829 h 2893743"/>
              <a:gd name="connsiteX23" fmla="*/ 6382512 w 7439501"/>
              <a:gd name="connsiteY23" fmla="*/ 546735 h 2893743"/>
              <a:gd name="connsiteX24" fmla="*/ 6367558 w 7439501"/>
              <a:gd name="connsiteY24" fmla="*/ 550640 h 2893743"/>
              <a:gd name="connsiteX25" fmla="*/ 6352413 w 7439501"/>
              <a:gd name="connsiteY25" fmla="*/ 553688 h 2893743"/>
              <a:gd name="connsiteX26" fmla="*/ 6291929 w 7439501"/>
              <a:gd name="connsiteY26" fmla="*/ 565595 h 2893743"/>
              <a:gd name="connsiteX27" fmla="*/ 6276785 w 7439501"/>
              <a:gd name="connsiteY27" fmla="*/ 568547 h 2893743"/>
              <a:gd name="connsiteX28" fmla="*/ 6261545 w 7439501"/>
              <a:gd name="connsiteY28" fmla="*/ 570548 h 2893743"/>
              <a:gd name="connsiteX29" fmla="*/ 6230970 w 7439501"/>
              <a:gd name="connsiteY29" fmla="*/ 574453 h 2893743"/>
              <a:gd name="connsiteX30" fmla="*/ 6108383 w 7439501"/>
              <a:gd name="connsiteY30" fmla="*/ 584264 h 2893743"/>
              <a:gd name="connsiteX31" fmla="*/ 6047232 w 7439501"/>
              <a:gd name="connsiteY31" fmla="*/ 583216 h 2893743"/>
              <a:gd name="connsiteX32" fmla="*/ 6031992 w 7439501"/>
              <a:gd name="connsiteY32" fmla="*/ 582930 h 2893743"/>
              <a:gd name="connsiteX33" fmla="*/ 6016752 w 7439501"/>
              <a:gd name="connsiteY33" fmla="*/ 581501 h 2893743"/>
              <a:gd name="connsiteX34" fmla="*/ 5986368 w 7439501"/>
              <a:gd name="connsiteY34" fmla="*/ 578644 h 2893743"/>
              <a:gd name="connsiteX35" fmla="*/ 5955983 w 7439501"/>
              <a:gd name="connsiteY35" fmla="*/ 575501 h 2893743"/>
              <a:gd name="connsiteX36" fmla="*/ 5925979 w 7439501"/>
              <a:gd name="connsiteY36" fmla="*/ 570357 h 2893743"/>
              <a:gd name="connsiteX37" fmla="*/ 5895975 w 7439501"/>
              <a:gd name="connsiteY37" fmla="*/ 565214 h 2893743"/>
              <a:gd name="connsiteX38" fmla="*/ 5866352 w 7439501"/>
              <a:gd name="connsiteY38" fmla="*/ 557975 h 2893743"/>
              <a:gd name="connsiteX39" fmla="*/ 5642324 w 7439501"/>
              <a:gd name="connsiteY39" fmla="*/ 465773 h 2893743"/>
              <a:gd name="connsiteX40" fmla="*/ 5456397 w 7439501"/>
              <a:gd name="connsiteY40" fmla="*/ 310229 h 2893743"/>
              <a:gd name="connsiteX41" fmla="*/ 5382483 w 7439501"/>
              <a:gd name="connsiteY41" fmla="*/ 213551 h 2893743"/>
              <a:gd name="connsiteX42" fmla="*/ 5324475 w 7439501"/>
              <a:gd name="connsiteY42" fmla="*/ 107061 h 2893743"/>
              <a:gd name="connsiteX43" fmla="*/ 5316474 w 7439501"/>
              <a:gd name="connsiteY43" fmla="*/ 88202 h 2893743"/>
              <a:gd name="connsiteX44" fmla="*/ 5305235 w 7439501"/>
              <a:gd name="connsiteY44" fmla="*/ 58484 h 2893743"/>
              <a:gd name="connsiteX45" fmla="*/ 5304854 w 7439501"/>
              <a:gd name="connsiteY45" fmla="*/ 58388 h 2893743"/>
              <a:gd name="connsiteX46" fmla="*/ 5289233 w 7439501"/>
              <a:gd name="connsiteY46" fmla="*/ 55626 h 2893743"/>
              <a:gd name="connsiteX47" fmla="*/ 5281994 w 7439501"/>
              <a:gd name="connsiteY47" fmla="*/ 54388 h 2893743"/>
              <a:gd name="connsiteX48" fmla="*/ 5277898 w 7439501"/>
              <a:gd name="connsiteY48" fmla="*/ 53816 h 2893743"/>
              <a:gd name="connsiteX49" fmla="*/ 5261420 w 7439501"/>
              <a:gd name="connsiteY49" fmla="*/ 51530 h 2893743"/>
              <a:gd name="connsiteX50" fmla="*/ 5228463 w 7439501"/>
              <a:gd name="connsiteY50" fmla="*/ 47625 h 2893743"/>
              <a:gd name="connsiteX51" fmla="*/ 5195507 w 7439501"/>
              <a:gd name="connsiteY51" fmla="*/ 44577 h 2893743"/>
              <a:gd name="connsiteX52" fmla="*/ 5162550 w 7439501"/>
              <a:gd name="connsiteY52" fmla="*/ 42196 h 2893743"/>
              <a:gd name="connsiteX53" fmla="*/ 5129594 w 7439501"/>
              <a:gd name="connsiteY53" fmla="*/ 40576 h 2893743"/>
              <a:gd name="connsiteX54" fmla="*/ 5096542 w 7439501"/>
              <a:gd name="connsiteY54" fmla="*/ 39529 h 2893743"/>
              <a:gd name="connsiteX55" fmla="*/ 5030534 w 7439501"/>
              <a:gd name="connsiteY55" fmla="*/ 38957 h 2893743"/>
              <a:gd name="connsiteX56" fmla="*/ 4975956 w 7439501"/>
              <a:gd name="connsiteY56" fmla="*/ 40386 h 2893743"/>
              <a:gd name="connsiteX57" fmla="*/ 4921377 w 7439501"/>
              <a:gd name="connsiteY57" fmla="*/ 43244 h 2893743"/>
              <a:gd name="connsiteX58" fmla="*/ 4866894 w 7439501"/>
              <a:gd name="connsiteY58" fmla="*/ 47625 h 2893743"/>
              <a:gd name="connsiteX59" fmla="*/ 4812602 w 7439501"/>
              <a:gd name="connsiteY59" fmla="*/ 53435 h 2893743"/>
              <a:gd name="connsiteX60" fmla="*/ 4704588 w 7439501"/>
              <a:gd name="connsiteY60" fmla="*/ 69723 h 2893743"/>
              <a:gd name="connsiteX61" fmla="*/ 4650962 w 7439501"/>
              <a:gd name="connsiteY61" fmla="*/ 80010 h 2893743"/>
              <a:gd name="connsiteX62" fmla="*/ 4597623 w 7439501"/>
              <a:gd name="connsiteY62" fmla="*/ 91726 h 2893743"/>
              <a:gd name="connsiteX63" fmla="*/ 4544568 w 7439501"/>
              <a:gd name="connsiteY63" fmla="*/ 104775 h 2893743"/>
              <a:gd name="connsiteX64" fmla="*/ 4491990 w 7439501"/>
              <a:gd name="connsiteY64" fmla="*/ 119634 h 2893743"/>
              <a:gd name="connsiteX65" fmla="*/ 4439889 w 7439501"/>
              <a:gd name="connsiteY65" fmla="*/ 135922 h 2893743"/>
              <a:gd name="connsiteX66" fmla="*/ 4388168 w 7439501"/>
              <a:gd name="connsiteY66" fmla="*/ 153448 h 2893743"/>
              <a:gd name="connsiteX67" fmla="*/ 4336923 w 7439501"/>
              <a:gd name="connsiteY67" fmla="*/ 172403 h 2893743"/>
              <a:gd name="connsiteX68" fmla="*/ 4286441 w 7439501"/>
              <a:gd name="connsiteY68" fmla="*/ 193167 h 2893743"/>
              <a:gd name="connsiteX69" fmla="*/ 4186904 w 7439501"/>
              <a:gd name="connsiteY69" fmla="*/ 238316 h 2893743"/>
              <a:gd name="connsiteX70" fmla="*/ 4138422 w 7439501"/>
              <a:gd name="connsiteY70" fmla="*/ 263462 h 2893743"/>
              <a:gd name="connsiteX71" fmla="*/ 4090416 w 7439501"/>
              <a:gd name="connsiteY71" fmla="*/ 289560 h 2893743"/>
              <a:gd name="connsiteX72" fmla="*/ 3997071 w 7439501"/>
              <a:gd name="connsiteY72" fmla="*/ 346329 h 2893743"/>
              <a:gd name="connsiteX73" fmla="*/ 3951351 w 7439501"/>
              <a:gd name="connsiteY73" fmla="*/ 376238 h 2893743"/>
              <a:gd name="connsiteX74" fmla="*/ 3907060 w 7439501"/>
              <a:gd name="connsiteY74" fmla="*/ 408146 h 2893743"/>
              <a:gd name="connsiteX75" fmla="*/ 3820573 w 7439501"/>
              <a:gd name="connsiteY75" fmla="*/ 474917 h 2893743"/>
              <a:gd name="connsiteX76" fmla="*/ 3514439 w 7439501"/>
              <a:gd name="connsiteY76" fmla="*/ 785336 h 2893743"/>
              <a:gd name="connsiteX77" fmla="*/ 3514439 w 7439501"/>
              <a:gd name="connsiteY77" fmla="*/ 785527 h 2893743"/>
              <a:gd name="connsiteX78" fmla="*/ 3399377 w 7439501"/>
              <a:gd name="connsiteY78" fmla="*/ 944690 h 2893743"/>
              <a:gd name="connsiteX79" fmla="*/ 3295460 w 7439501"/>
              <a:gd name="connsiteY79" fmla="*/ 1110329 h 2893743"/>
              <a:gd name="connsiteX80" fmla="*/ 3196685 w 7439501"/>
              <a:gd name="connsiteY80" fmla="*/ 1278446 h 2893743"/>
              <a:gd name="connsiteX81" fmla="*/ 3098578 w 7439501"/>
              <a:gd name="connsiteY81" fmla="*/ 1446467 h 2893743"/>
              <a:gd name="connsiteX82" fmla="*/ 2997803 w 7439501"/>
              <a:gd name="connsiteY82" fmla="*/ 1612487 h 2893743"/>
              <a:gd name="connsiteX83" fmla="*/ 2891600 w 7439501"/>
              <a:gd name="connsiteY83" fmla="*/ 1774698 h 2893743"/>
              <a:gd name="connsiteX84" fmla="*/ 2654999 w 7439501"/>
              <a:gd name="connsiteY84" fmla="*/ 2080736 h 2893743"/>
              <a:gd name="connsiteX85" fmla="*/ 2521839 w 7439501"/>
              <a:gd name="connsiteY85" fmla="*/ 2220659 h 2893743"/>
              <a:gd name="connsiteX86" fmla="*/ 2377631 w 7439501"/>
              <a:gd name="connsiteY86" fmla="*/ 2348960 h 2893743"/>
              <a:gd name="connsiteX87" fmla="*/ 2222754 w 7439501"/>
              <a:gd name="connsiteY87" fmla="*/ 2463927 h 2893743"/>
              <a:gd name="connsiteX88" fmla="*/ 2057876 w 7439501"/>
              <a:gd name="connsiteY88" fmla="*/ 2564035 h 2893743"/>
              <a:gd name="connsiteX89" fmla="*/ 1329404 w 7439501"/>
              <a:gd name="connsiteY89" fmla="*/ 2810542 h 2893743"/>
              <a:gd name="connsiteX90" fmla="*/ 685800 w 7439501"/>
              <a:gd name="connsiteY90" fmla="*/ 2854833 h 2893743"/>
              <a:gd name="connsiteX91" fmla="*/ 643128 w 7439501"/>
              <a:gd name="connsiteY91" fmla="*/ 2853404 h 2893743"/>
              <a:gd name="connsiteX92" fmla="*/ 589788 w 7439501"/>
              <a:gd name="connsiteY92" fmla="*/ 2851690 h 2893743"/>
              <a:gd name="connsiteX93" fmla="*/ 515207 w 7439501"/>
              <a:gd name="connsiteY93" fmla="*/ 2847689 h 2893743"/>
              <a:gd name="connsiteX94" fmla="*/ 5715 w 7439501"/>
              <a:gd name="connsiteY94" fmla="*/ 2791873 h 2893743"/>
              <a:gd name="connsiteX95" fmla="*/ 4286 w 7439501"/>
              <a:gd name="connsiteY95" fmla="*/ 2801302 h 2893743"/>
              <a:gd name="connsiteX96" fmla="*/ 2858 w 7439501"/>
              <a:gd name="connsiteY96" fmla="*/ 2810732 h 2893743"/>
              <a:gd name="connsiteX97" fmla="*/ 1429 w 7439501"/>
              <a:gd name="connsiteY97" fmla="*/ 2820162 h 2893743"/>
              <a:gd name="connsiteX98" fmla="*/ 0 w 7439501"/>
              <a:gd name="connsiteY98" fmla="*/ 2829592 h 2893743"/>
              <a:gd name="connsiteX99" fmla="*/ 513112 w 7439501"/>
              <a:gd name="connsiteY99" fmla="*/ 2885789 h 2893743"/>
              <a:gd name="connsiteX100" fmla="*/ 588359 w 7439501"/>
              <a:gd name="connsiteY100" fmla="*/ 2889885 h 2893743"/>
              <a:gd name="connsiteX101" fmla="*/ 642176 w 7439501"/>
              <a:gd name="connsiteY101" fmla="*/ 2891695 h 2893743"/>
              <a:gd name="connsiteX102" fmla="*/ 685229 w 7439501"/>
              <a:gd name="connsiteY102" fmla="*/ 2893124 h 2893743"/>
              <a:gd name="connsiteX103" fmla="*/ 1336072 w 7439501"/>
              <a:gd name="connsiteY103" fmla="*/ 2848356 h 2893743"/>
              <a:gd name="connsiteX104" fmla="*/ 2076355 w 7439501"/>
              <a:gd name="connsiteY104" fmla="*/ 2597753 h 2893743"/>
              <a:gd name="connsiteX105" fmla="*/ 2244185 w 7439501"/>
              <a:gd name="connsiteY105" fmla="*/ 2495836 h 2893743"/>
              <a:gd name="connsiteX106" fmla="*/ 2401919 w 7439501"/>
              <a:gd name="connsiteY106" fmla="*/ 2378869 h 2893743"/>
              <a:gd name="connsiteX107" fmla="*/ 2548604 w 7439501"/>
              <a:gd name="connsiteY107" fmla="*/ 2248376 h 2893743"/>
              <a:gd name="connsiteX108" fmla="*/ 2683859 w 7439501"/>
              <a:gd name="connsiteY108" fmla="*/ 2106359 h 2893743"/>
              <a:gd name="connsiteX109" fmla="*/ 2923318 w 7439501"/>
              <a:gd name="connsiteY109" fmla="*/ 1796606 h 2893743"/>
              <a:gd name="connsiteX110" fmla="*/ 3030379 w 7439501"/>
              <a:gd name="connsiteY110" fmla="*/ 1633061 h 2893743"/>
              <a:gd name="connsiteX111" fmla="*/ 3131630 w 7439501"/>
              <a:gd name="connsiteY111" fmla="*/ 1466183 h 2893743"/>
              <a:gd name="connsiteX112" fmla="*/ 3229928 w 7439501"/>
              <a:gd name="connsiteY112" fmla="*/ 1297972 h 2893743"/>
              <a:gd name="connsiteX113" fmla="*/ 3328416 w 7439501"/>
              <a:gd name="connsiteY113" fmla="*/ 1130332 h 2893743"/>
              <a:gd name="connsiteX114" fmla="*/ 3431381 w 7439501"/>
              <a:gd name="connsiteY114" fmla="*/ 966121 h 2893743"/>
              <a:gd name="connsiteX115" fmla="*/ 3544348 w 7439501"/>
              <a:gd name="connsiteY115" fmla="*/ 809720 h 2893743"/>
              <a:gd name="connsiteX116" fmla="*/ 3544348 w 7439501"/>
              <a:gd name="connsiteY116" fmla="*/ 809530 h 2893743"/>
              <a:gd name="connsiteX117" fmla="*/ 3844957 w 7439501"/>
              <a:gd name="connsiteY117" fmla="*/ 504730 h 2893743"/>
              <a:gd name="connsiteX118" fmla="*/ 3929729 w 7439501"/>
              <a:gd name="connsiteY118" fmla="*/ 439293 h 2893743"/>
              <a:gd name="connsiteX119" fmla="*/ 3973164 w 7439501"/>
              <a:gd name="connsiteY119" fmla="*/ 407956 h 2893743"/>
              <a:gd name="connsiteX120" fmla="*/ 4017931 w 7439501"/>
              <a:gd name="connsiteY120" fmla="*/ 378619 h 2893743"/>
              <a:gd name="connsiteX121" fmla="*/ 4109466 w 7439501"/>
              <a:gd name="connsiteY121" fmla="*/ 322993 h 2893743"/>
              <a:gd name="connsiteX122" fmla="*/ 4156520 w 7439501"/>
              <a:gd name="connsiteY122" fmla="*/ 297371 h 2893743"/>
              <a:gd name="connsiteX123" fmla="*/ 4204050 w 7439501"/>
              <a:gd name="connsiteY123" fmla="*/ 272701 h 2893743"/>
              <a:gd name="connsiteX124" fmla="*/ 4301585 w 7439501"/>
              <a:gd name="connsiteY124" fmla="*/ 228409 h 2893743"/>
              <a:gd name="connsiteX125" fmla="*/ 4351116 w 7439501"/>
              <a:gd name="connsiteY125" fmla="*/ 208026 h 2893743"/>
              <a:gd name="connsiteX126" fmla="*/ 4401312 w 7439501"/>
              <a:gd name="connsiteY126" fmla="*/ 189452 h 2893743"/>
              <a:gd name="connsiteX127" fmla="*/ 4451985 w 7439501"/>
              <a:gd name="connsiteY127" fmla="*/ 172307 h 2893743"/>
              <a:gd name="connsiteX128" fmla="*/ 4503134 w 7439501"/>
              <a:gd name="connsiteY128" fmla="*/ 156305 h 2893743"/>
              <a:gd name="connsiteX129" fmla="*/ 4554665 w 7439501"/>
              <a:gd name="connsiteY129" fmla="*/ 141732 h 2893743"/>
              <a:gd name="connsiteX130" fmla="*/ 4606671 w 7439501"/>
              <a:gd name="connsiteY130" fmla="*/ 128969 h 2893743"/>
              <a:gd name="connsiteX131" fmla="*/ 4658964 w 7439501"/>
              <a:gd name="connsiteY131" fmla="*/ 117539 h 2893743"/>
              <a:gd name="connsiteX132" fmla="*/ 4711542 w 7439501"/>
              <a:gd name="connsiteY132" fmla="*/ 107442 h 2893743"/>
              <a:gd name="connsiteX133" fmla="*/ 4817459 w 7439501"/>
              <a:gd name="connsiteY133" fmla="*/ 91440 h 2893743"/>
              <a:gd name="connsiteX134" fmla="*/ 4870704 w 7439501"/>
              <a:gd name="connsiteY134" fmla="*/ 85725 h 2893743"/>
              <a:gd name="connsiteX135" fmla="*/ 4924140 w 7439501"/>
              <a:gd name="connsiteY135" fmla="*/ 81439 h 2893743"/>
              <a:gd name="connsiteX136" fmla="*/ 4977670 w 7439501"/>
              <a:gd name="connsiteY136" fmla="*/ 78581 h 2893743"/>
              <a:gd name="connsiteX137" fmla="*/ 5031201 w 7439501"/>
              <a:gd name="connsiteY137" fmla="*/ 77153 h 2893743"/>
              <a:gd name="connsiteX138" fmla="*/ 5095875 w 7439501"/>
              <a:gd name="connsiteY138" fmla="*/ 77724 h 2893743"/>
              <a:gd name="connsiteX139" fmla="*/ 5128165 w 7439501"/>
              <a:gd name="connsiteY139" fmla="*/ 78772 h 2893743"/>
              <a:gd name="connsiteX140" fmla="*/ 5160455 w 7439501"/>
              <a:gd name="connsiteY140" fmla="*/ 80391 h 2893743"/>
              <a:gd name="connsiteX141" fmla="*/ 5192649 w 7439501"/>
              <a:gd name="connsiteY141" fmla="*/ 82677 h 2893743"/>
              <a:gd name="connsiteX142" fmla="*/ 5224749 w 7439501"/>
              <a:gd name="connsiteY142" fmla="*/ 85725 h 2893743"/>
              <a:gd name="connsiteX143" fmla="*/ 5256657 w 7439501"/>
              <a:gd name="connsiteY143" fmla="*/ 89535 h 2893743"/>
              <a:gd name="connsiteX144" fmla="*/ 5272469 w 7439501"/>
              <a:gd name="connsiteY144" fmla="*/ 91726 h 2893743"/>
              <a:gd name="connsiteX145" fmla="*/ 5277612 w 7439501"/>
              <a:gd name="connsiteY145" fmla="*/ 92488 h 2893743"/>
              <a:gd name="connsiteX146" fmla="*/ 5277612 w 7439501"/>
              <a:gd name="connsiteY146" fmla="*/ 92488 h 2893743"/>
              <a:gd name="connsiteX147" fmla="*/ 5281327 w 7439501"/>
              <a:gd name="connsiteY147" fmla="*/ 102394 h 2893743"/>
              <a:gd name="connsiteX148" fmla="*/ 5289804 w 7439501"/>
              <a:gd name="connsiteY148" fmla="*/ 122587 h 2893743"/>
              <a:gd name="connsiteX149" fmla="*/ 5350859 w 7439501"/>
              <a:gd name="connsiteY149" fmla="*/ 234601 h 2893743"/>
              <a:gd name="connsiteX150" fmla="*/ 5428107 w 7439501"/>
              <a:gd name="connsiteY150" fmla="*/ 335661 h 2893743"/>
              <a:gd name="connsiteX151" fmla="*/ 5622893 w 7439501"/>
              <a:gd name="connsiteY151" fmla="*/ 498539 h 2893743"/>
              <a:gd name="connsiteX152" fmla="*/ 5857590 w 7439501"/>
              <a:gd name="connsiteY152" fmla="*/ 595217 h 2893743"/>
              <a:gd name="connsiteX153" fmla="*/ 5888546 w 7439501"/>
              <a:gd name="connsiteY153" fmla="*/ 602742 h 2893743"/>
              <a:gd name="connsiteX154" fmla="*/ 5919883 w 7439501"/>
              <a:gd name="connsiteY154" fmla="*/ 608171 h 2893743"/>
              <a:gd name="connsiteX155" fmla="*/ 5951221 w 7439501"/>
              <a:gd name="connsiteY155" fmla="*/ 613505 h 2893743"/>
              <a:gd name="connsiteX156" fmla="*/ 5982843 w 7439501"/>
              <a:gd name="connsiteY156" fmla="*/ 616744 h 2893743"/>
              <a:gd name="connsiteX157" fmla="*/ 6014466 w 7439501"/>
              <a:gd name="connsiteY157" fmla="*/ 619697 h 2893743"/>
              <a:gd name="connsiteX158" fmla="*/ 6030278 w 7439501"/>
              <a:gd name="connsiteY158" fmla="*/ 621125 h 2893743"/>
              <a:gd name="connsiteX159" fmla="*/ 6046089 w 7439501"/>
              <a:gd name="connsiteY159" fmla="*/ 621411 h 2893743"/>
              <a:gd name="connsiteX160" fmla="*/ 6109526 w 7439501"/>
              <a:gd name="connsiteY160" fmla="*/ 622459 h 2893743"/>
              <a:gd name="connsiteX161" fmla="*/ 6236113 w 7439501"/>
              <a:gd name="connsiteY161" fmla="*/ 612362 h 2893743"/>
              <a:gd name="connsiteX162" fmla="*/ 6267545 w 7439501"/>
              <a:gd name="connsiteY162" fmla="*/ 608362 h 2893743"/>
              <a:gd name="connsiteX163" fmla="*/ 6283262 w 7439501"/>
              <a:gd name="connsiteY163" fmla="*/ 606266 h 2893743"/>
              <a:gd name="connsiteX164" fmla="*/ 6298788 w 7439501"/>
              <a:gd name="connsiteY164" fmla="*/ 603218 h 2893743"/>
              <a:gd name="connsiteX165" fmla="*/ 6360986 w 7439501"/>
              <a:gd name="connsiteY165" fmla="*/ 591026 h 2893743"/>
              <a:gd name="connsiteX166" fmla="*/ 6376511 w 7439501"/>
              <a:gd name="connsiteY166" fmla="*/ 587883 h 2893743"/>
              <a:gd name="connsiteX167" fmla="*/ 6391847 w 7439501"/>
              <a:gd name="connsiteY167" fmla="*/ 583883 h 2893743"/>
              <a:gd name="connsiteX168" fmla="*/ 6422422 w 7439501"/>
              <a:gd name="connsiteY168" fmla="*/ 575882 h 2893743"/>
              <a:gd name="connsiteX169" fmla="*/ 6452997 w 7439501"/>
              <a:gd name="connsiteY169" fmla="*/ 567785 h 2893743"/>
              <a:gd name="connsiteX170" fmla="*/ 6483382 w 7439501"/>
              <a:gd name="connsiteY170" fmla="*/ 559118 h 2893743"/>
              <a:gd name="connsiteX171" fmla="*/ 6543390 w 7439501"/>
              <a:gd name="connsiteY171" fmla="*/ 539401 h 2893743"/>
              <a:gd name="connsiteX172" fmla="*/ 6573393 w 7439501"/>
              <a:gd name="connsiteY172" fmla="*/ 529590 h 2893743"/>
              <a:gd name="connsiteX173" fmla="*/ 6602826 w 7439501"/>
              <a:gd name="connsiteY173" fmla="*/ 518255 h 2893743"/>
              <a:gd name="connsiteX174" fmla="*/ 6719507 w 7439501"/>
              <a:gd name="connsiteY174" fmla="*/ 470440 h 2893743"/>
              <a:gd name="connsiteX175" fmla="*/ 6776943 w 7439501"/>
              <a:gd name="connsiteY175" fmla="*/ 444437 h 2893743"/>
              <a:gd name="connsiteX176" fmla="*/ 6833426 w 7439501"/>
              <a:gd name="connsiteY176" fmla="*/ 416719 h 2893743"/>
              <a:gd name="connsiteX177" fmla="*/ 6889433 w 7439501"/>
              <a:gd name="connsiteY177" fmla="*/ 388049 h 2893743"/>
              <a:gd name="connsiteX178" fmla="*/ 6917341 w 7439501"/>
              <a:gd name="connsiteY178" fmla="*/ 373571 h 2893743"/>
              <a:gd name="connsiteX179" fmla="*/ 6944678 w 7439501"/>
              <a:gd name="connsiteY179" fmla="*/ 358045 h 2893743"/>
              <a:gd name="connsiteX180" fmla="*/ 6999256 w 7439501"/>
              <a:gd name="connsiteY180" fmla="*/ 326898 h 2893743"/>
              <a:gd name="connsiteX181" fmla="*/ 7053453 w 7439501"/>
              <a:gd name="connsiteY181" fmla="*/ 295085 h 2893743"/>
              <a:gd name="connsiteX182" fmla="*/ 7152704 w 7439501"/>
              <a:gd name="connsiteY182" fmla="*/ 232886 h 2893743"/>
              <a:gd name="connsiteX183" fmla="*/ 7207472 w 7439501"/>
              <a:gd name="connsiteY183" fmla="*/ 196310 h 2893743"/>
              <a:gd name="connsiteX184" fmla="*/ 7273957 w 7439501"/>
              <a:gd name="connsiteY184" fmla="*/ 150971 h 2893743"/>
              <a:gd name="connsiteX185" fmla="*/ 7351205 w 7439501"/>
              <a:gd name="connsiteY185" fmla="*/ 95631 h 2893743"/>
              <a:gd name="connsiteX186" fmla="*/ 7439502 w 7439501"/>
              <a:gd name="connsiteY186" fmla="*/ 30671 h 2893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7439501" h="2893743">
                <a:moveTo>
                  <a:pt x="7439120" y="30480"/>
                </a:moveTo>
                <a:lnTo>
                  <a:pt x="7433310" y="22860"/>
                </a:lnTo>
                <a:lnTo>
                  <a:pt x="7427500" y="15240"/>
                </a:lnTo>
                <a:lnTo>
                  <a:pt x="7421689" y="7620"/>
                </a:lnTo>
                <a:lnTo>
                  <a:pt x="7415879" y="0"/>
                </a:lnTo>
                <a:cubicBezTo>
                  <a:pt x="7384733" y="22955"/>
                  <a:pt x="7355491" y="44387"/>
                  <a:pt x="7328249" y="64484"/>
                </a:cubicBezTo>
                <a:cubicBezTo>
                  <a:pt x="7300913" y="84487"/>
                  <a:pt x="7275862" y="103537"/>
                  <a:pt x="7251668" y="119444"/>
                </a:cubicBezTo>
                <a:cubicBezTo>
                  <a:pt x="7227665" y="135731"/>
                  <a:pt x="7205758" y="150781"/>
                  <a:pt x="7185756" y="164402"/>
                </a:cubicBezTo>
                <a:cubicBezTo>
                  <a:pt x="7165658" y="177832"/>
                  <a:pt x="7148132" y="190691"/>
                  <a:pt x="7131558" y="200692"/>
                </a:cubicBezTo>
                <a:cubicBezTo>
                  <a:pt x="7066122" y="241745"/>
                  <a:pt x="7033356" y="262223"/>
                  <a:pt x="7033356" y="262223"/>
                </a:cubicBezTo>
                <a:cubicBezTo>
                  <a:pt x="7016020" y="273558"/>
                  <a:pt x="6997637" y="283274"/>
                  <a:pt x="6979730" y="293656"/>
                </a:cubicBezTo>
                <a:cubicBezTo>
                  <a:pt x="6961727" y="303943"/>
                  <a:pt x="6943725" y="314135"/>
                  <a:pt x="6925723" y="324422"/>
                </a:cubicBezTo>
                <a:lnTo>
                  <a:pt x="6898767" y="339852"/>
                </a:lnTo>
                <a:cubicBezTo>
                  <a:pt x="6889718" y="344805"/>
                  <a:pt x="6880384" y="349377"/>
                  <a:pt x="6871240" y="354140"/>
                </a:cubicBezTo>
                <a:cubicBezTo>
                  <a:pt x="6852857" y="363569"/>
                  <a:pt x="6834378" y="372999"/>
                  <a:pt x="6815995" y="382429"/>
                </a:cubicBezTo>
                <a:cubicBezTo>
                  <a:pt x="6797517" y="391763"/>
                  <a:pt x="6779324" y="401669"/>
                  <a:pt x="6760274" y="409766"/>
                </a:cubicBezTo>
                <a:lnTo>
                  <a:pt x="6703790" y="435293"/>
                </a:lnTo>
                <a:cubicBezTo>
                  <a:pt x="6666452" y="453295"/>
                  <a:pt x="6627496" y="466916"/>
                  <a:pt x="6589109" y="482346"/>
                </a:cubicBezTo>
                <a:cubicBezTo>
                  <a:pt x="6579489" y="486061"/>
                  <a:pt x="6569964" y="490061"/>
                  <a:pt x="6560249" y="493490"/>
                </a:cubicBezTo>
                <a:lnTo>
                  <a:pt x="6530817" y="503111"/>
                </a:lnTo>
                <a:lnTo>
                  <a:pt x="6472047" y="522446"/>
                </a:lnTo>
                <a:cubicBezTo>
                  <a:pt x="6462332" y="525971"/>
                  <a:pt x="6452235" y="528257"/>
                  <a:pt x="6442329" y="530924"/>
                </a:cubicBezTo>
                <a:lnTo>
                  <a:pt x="6412421" y="538829"/>
                </a:lnTo>
                <a:lnTo>
                  <a:pt x="6382512" y="546735"/>
                </a:lnTo>
                <a:lnTo>
                  <a:pt x="6367558" y="550640"/>
                </a:lnTo>
                <a:cubicBezTo>
                  <a:pt x="6362510" y="551783"/>
                  <a:pt x="6357461" y="552641"/>
                  <a:pt x="6352413" y="553688"/>
                </a:cubicBezTo>
                <a:lnTo>
                  <a:pt x="6291929" y="565595"/>
                </a:lnTo>
                <a:lnTo>
                  <a:pt x="6276785" y="568547"/>
                </a:lnTo>
                <a:cubicBezTo>
                  <a:pt x="6271736" y="569309"/>
                  <a:pt x="6266593" y="569881"/>
                  <a:pt x="6261545" y="570548"/>
                </a:cubicBezTo>
                <a:lnTo>
                  <a:pt x="6230970" y="574453"/>
                </a:lnTo>
                <a:cubicBezTo>
                  <a:pt x="6190298" y="580930"/>
                  <a:pt x="6149340" y="581692"/>
                  <a:pt x="6108383" y="584264"/>
                </a:cubicBezTo>
                <a:lnTo>
                  <a:pt x="6047232" y="583216"/>
                </a:lnTo>
                <a:lnTo>
                  <a:pt x="6031992" y="582930"/>
                </a:lnTo>
                <a:lnTo>
                  <a:pt x="6016752" y="581501"/>
                </a:lnTo>
                <a:lnTo>
                  <a:pt x="5986368" y="578644"/>
                </a:lnTo>
                <a:cubicBezTo>
                  <a:pt x="5976271" y="577596"/>
                  <a:pt x="5966079" y="577025"/>
                  <a:pt x="5955983" y="575501"/>
                </a:cubicBezTo>
                <a:lnTo>
                  <a:pt x="5925979" y="570357"/>
                </a:lnTo>
                <a:lnTo>
                  <a:pt x="5895975" y="565214"/>
                </a:lnTo>
                <a:cubicBezTo>
                  <a:pt x="5885974" y="563309"/>
                  <a:pt x="5876258" y="560356"/>
                  <a:pt x="5866352" y="557975"/>
                </a:cubicBezTo>
                <a:cubicBezTo>
                  <a:pt x="5787486" y="538829"/>
                  <a:pt x="5711571" y="507778"/>
                  <a:pt x="5642324" y="465773"/>
                </a:cubicBezTo>
                <a:cubicBezTo>
                  <a:pt x="5573078" y="423672"/>
                  <a:pt x="5510022" y="371285"/>
                  <a:pt x="5456397" y="310229"/>
                </a:cubicBezTo>
                <a:cubicBezTo>
                  <a:pt x="5429536" y="279749"/>
                  <a:pt x="5404961" y="247364"/>
                  <a:pt x="5382483" y="213551"/>
                </a:cubicBezTo>
                <a:cubicBezTo>
                  <a:pt x="5360575" y="179451"/>
                  <a:pt x="5340668" y="143923"/>
                  <a:pt x="5324475" y="107061"/>
                </a:cubicBezTo>
                <a:cubicBezTo>
                  <a:pt x="5321808" y="100775"/>
                  <a:pt x="5318760" y="94583"/>
                  <a:pt x="5316474" y="88202"/>
                </a:cubicBezTo>
                <a:lnTo>
                  <a:pt x="5305235" y="58484"/>
                </a:lnTo>
                <a:cubicBezTo>
                  <a:pt x="5305235" y="58484"/>
                  <a:pt x="5305044" y="58484"/>
                  <a:pt x="5304854" y="58388"/>
                </a:cubicBezTo>
                <a:lnTo>
                  <a:pt x="5289233" y="55626"/>
                </a:lnTo>
                <a:lnTo>
                  <a:pt x="5281994" y="54388"/>
                </a:lnTo>
                <a:lnTo>
                  <a:pt x="5277898" y="53816"/>
                </a:lnTo>
                <a:lnTo>
                  <a:pt x="5261420" y="51530"/>
                </a:lnTo>
                <a:cubicBezTo>
                  <a:pt x="5250466" y="50006"/>
                  <a:pt x="5239417" y="48863"/>
                  <a:pt x="5228463" y="47625"/>
                </a:cubicBezTo>
                <a:cubicBezTo>
                  <a:pt x="5217509" y="46387"/>
                  <a:pt x="5206461" y="45530"/>
                  <a:pt x="5195507" y="44577"/>
                </a:cubicBezTo>
                <a:lnTo>
                  <a:pt x="5162550" y="42196"/>
                </a:lnTo>
                <a:lnTo>
                  <a:pt x="5129594" y="40576"/>
                </a:lnTo>
                <a:cubicBezTo>
                  <a:pt x="5118640" y="39910"/>
                  <a:pt x="5107591" y="39910"/>
                  <a:pt x="5096542" y="39529"/>
                </a:cubicBezTo>
                <a:cubicBezTo>
                  <a:pt x="5074539" y="38767"/>
                  <a:pt x="5052536" y="39148"/>
                  <a:pt x="5030534" y="38957"/>
                </a:cubicBezTo>
                <a:lnTo>
                  <a:pt x="4975956" y="40386"/>
                </a:lnTo>
                <a:cubicBezTo>
                  <a:pt x="4957763" y="41339"/>
                  <a:pt x="4939570" y="42101"/>
                  <a:pt x="4921377" y="43244"/>
                </a:cubicBezTo>
                <a:lnTo>
                  <a:pt x="4866894" y="47625"/>
                </a:lnTo>
                <a:lnTo>
                  <a:pt x="4812602" y="53435"/>
                </a:lnTo>
                <a:cubicBezTo>
                  <a:pt x="4776502" y="58198"/>
                  <a:pt x="4740402" y="63151"/>
                  <a:pt x="4704588" y="69723"/>
                </a:cubicBezTo>
                <a:cubicBezTo>
                  <a:pt x="4686586" y="72581"/>
                  <a:pt x="4668774" y="76295"/>
                  <a:pt x="4650962" y="80010"/>
                </a:cubicBezTo>
                <a:cubicBezTo>
                  <a:pt x="4633151" y="83725"/>
                  <a:pt x="4615244" y="87154"/>
                  <a:pt x="4597623" y="91726"/>
                </a:cubicBezTo>
                <a:lnTo>
                  <a:pt x="4544568" y="104775"/>
                </a:lnTo>
                <a:lnTo>
                  <a:pt x="4491990" y="119634"/>
                </a:lnTo>
                <a:cubicBezTo>
                  <a:pt x="4474369" y="124301"/>
                  <a:pt x="4457224" y="130397"/>
                  <a:pt x="4439889" y="135922"/>
                </a:cubicBezTo>
                <a:cubicBezTo>
                  <a:pt x="4422648" y="141732"/>
                  <a:pt x="4405122" y="146780"/>
                  <a:pt x="4388168" y="153448"/>
                </a:cubicBezTo>
                <a:cubicBezTo>
                  <a:pt x="4371118" y="159734"/>
                  <a:pt x="4353973" y="166116"/>
                  <a:pt x="4336923" y="172403"/>
                </a:cubicBezTo>
                <a:cubicBezTo>
                  <a:pt x="4319874" y="178880"/>
                  <a:pt x="4303300" y="186309"/>
                  <a:pt x="4286441" y="193167"/>
                </a:cubicBezTo>
                <a:cubicBezTo>
                  <a:pt x="4252532" y="206597"/>
                  <a:pt x="4220051" y="223171"/>
                  <a:pt x="4186904" y="238316"/>
                </a:cubicBezTo>
                <a:cubicBezTo>
                  <a:pt x="4170522" y="246221"/>
                  <a:pt x="4154615" y="255080"/>
                  <a:pt x="4138422" y="263462"/>
                </a:cubicBezTo>
                <a:cubicBezTo>
                  <a:pt x="4122325" y="272034"/>
                  <a:pt x="4105942" y="280035"/>
                  <a:pt x="4090416" y="289560"/>
                </a:cubicBezTo>
                <a:cubicBezTo>
                  <a:pt x="4058984" y="308039"/>
                  <a:pt x="4027170" y="325850"/>
                  <a:pt x="3997071" y="346329"/>
                </a:cubicBezTo>
                <a:cubicBezTo>
                  <a:pt x="3981831" y="356330"/>
                  <a:pt x="3966401" y="366046"/>
                  <a:pt x="3951351" y="376238"/>
                </a:cubicBezTo>
                <a:cubicBezTo>
                  <a:pt x="3936587" y="386906"/>
                  <a:pt x="3921824" y="397478"/>
                  <a:pt x="3907060" y="408146"/>
                </a:cubicBezTo>
                <a:cubicBezTo>
                  <a:pt x="3877056" y="428816"/>
                  <a:pt x="3849243" y="452438"/>
                  <a:pt x="3820573" y="474917"/>
                </a:cubicBezTo>
                <a:cubicBezTo>
                  <a:pt x="3707702" y="567023"/>
                  <a:pt x="3605308" y="671703"/>
                  <a:pt x="3514439" y="785336"/>
                </a:cubicBezTo>
                <a:lnTo>
                  <a:pt x="3514439" y="785527"/>
                </a:lnTo>
                <a:cubicBezTo>
                  <a:pt x="3473291" y="836866"/>
                  <a:pt x="3435477" y="890302"/>
                  <a:pt x="3399377" y="944690"/>
                </a:cubicBezTo>
                <a:cubicBezTo>
                  <a:pt x="3363278" y="999173"/>
                  <a:pt x="3328988" y="1054608"/>
                  <a:pt x="3295460" y="1110329"/>
                </a:cubicBezTo>
                <a:cubicBezTo>
                  <a:pt x="3261932" y="1166146"/>
                  <a:pt x="3229261" y="1222248"/>
                  <a:pt x="3196685" y="1278446"/>
                </a:cubicBezTo>
                <a:cubicBezTo>
                  <a:pt x="3164015" y="1334453"/>
                  <a:pt x="3131249" y="1390460"/>
                  <a:pt x="3098578" y="1446467"/>
                </a:cubicBezTo>
                <a:cubicBezTo>
                  <a:pt x="3065526" y="1502188"/>
                  <a:pt x="3032189" y="1557719"/>
                  <a:pt x="2997803" y="1612487"/>
                </a:cubicBezTo>
                <a:cubicBezTo>
                  <a:pt x="2963418" y="1667256"/>
                  <a:pt x="2928080" y="1721453"/>
                  <a:pt x="2891600" y="1774698"/>
                </a:cubicBezTo>
                <a:cubicBezTo>
                  <a:pt x="2818733" y="1881378"/>
                  <a:pt x="2740247" y="1984058"/>
                  <a:pt x="2654999" y="2080736"/>
                </a:cubicBezTo>
                <a:cubicBezTo>
                  <a:pt x="2612231" y="2128933"/>
                  <a:pt x="2567845" y="2175701"/>
                  <a:pt x="2521839" y="2220659"/>
                </a:cubicBezTo>
                <a:cubicBezTo>
                  <a:pt x="2475452" y="2265331"/>
                  <a:pt x="2427351" y="2308098"/>
                  <a:pt x="2377631" y="2348960"/>
                </a:cubicBezTo>
                <a:cubicBezTo>
                  <a:pt x="2327720" y="2389537"/>
                  <a:pt x="2275808" y="2427637"/>
                  <a:pt x="2222754" y="2463927"/>
                </a:cubicBezTo>
                <a:cubicBezTo>
                  <a:pt x="2169224" y="2499646"/>
                  <a:pt x="2114264" y="2532983"/>
                  <a:pt x="2057876" y="2564035"/>
                </a:cubicBezTo>
                <a:cubicBezTo>
                  <a:pt x="1831848" y="2687288"/>
                  <a:pt x="1583436" y="2767108"/>
                  <a:pt x="1329404" y="2810542"/>
                </a:cubicBezTo>
                <a:cubicBezTo>
                  <a:pt x="1117283" y="2847308"/>
                  <a:pt x="901160" y="2858357"/>
                  <a:pt x="685800" y="2854833"/>
                </a:cubicBezTo>
                <a:lnTo>
                  <a:pt x="643128" y="2853404"/>
                </a:lnTo>
                <a:lnTo>
                  <a:pt x="589788" y="2851690"/>
                </a:lnTo>
                <a:cubicBezTo>
                  <a:pt x="568452" y="2850928"/>
                  <a:pt x="543592" y="2849213"/>
                  <a:pt x="515207" y="2847689"/>
                </a:cubicBezTo>
                <a:cubicBezTo>
                  <a:pt x="401574" y="2840927"/>
                  <a:pt x="231077" y="2826544"/>
                  <a:pt x="5715" y="2791873"/>
                </a:cubicBezTo>
                <a:lnTo>
                  <a:pt x="4286" y="2801302"/>
                </a:lnTo>
                <a:lnTo>
                  <a:pt x="2858" y="2810732"/>
                </a:lnTo>
                <a:lnTo>
                  <a:pt x="1429" y="2820162"/>
                </a:lnTo>
                <a:lnTo>
                  <a:pt x="0" y="2829592"/>
                </a:lnTo>
                <a:cubicBezTo>
                  <a:pt x="226790" y="2864549"/>
                  <a:pt x="398621" y="2879027"/>
                  <a:pt x="513112" y="2885789"/>
                </a:cubicBezTo>
                <a:cubicBezTo>
                  <a:pt x="541782" y="2887313"/>
                  <a:pt x="566833" y="2889123"/>
                  <a:pt x="588359" y="2889885"/>
                </a:cubicBezTo>
                <a:lnTo>
                  <a:pt x="642176" y="2891695"/>
                </a:lnTo>
                <a:lnTo>
                  <a:pt x="685229" y="2893124"/>
                </a:lnTo>
                <a:cubicBezTo>
                  <a:pt x="902684" y="2896648"/>
                  <a:pt x="1121093" y="2885599"/>
                  <a:pt x="1336072" y="2848356"/>
                </a:cubicBezTo>
                <a:cubicBezTo>
                  <a:pt x="1593533" y="2804446"/>
                  <a:pt x="1846136" y="2723293"/>
                  <a:pt x="2076355" y="2597753"/>
                </a:cubicBezTo>
                <a:cubicBezTo>
                  <a:pt x="2133695" y="2566131"/>
                  <a:pt x="2189798" y="2532126"/>
                  <a:pt x="2244185" y="2495836"/>
                </a:cubicBezTo>
                <a:cubicBezTo>
                  <a:pt x="2298287" y="2458974"/>
                  <a:pt x="2351056" y="2420112"/>
                  <a:pt x="2401919" y="2378869"/>
                </a:cubicBezTo>
                <a:cubicBezTo>
                  <a:pt x="2452497" y="2337340"/>
                  <a:pt x="2501456" y="2293811"/>
                  <a:pt x="2548604" y="2248376"/>
                </a:cubicBezTo>
                <a:cubicBezTo>
                  <a:pt x="2595467" y="2202656"/>
                  <a:pt x="2640521" y="2155222"/>
                  <a:pt x="2683859" y="2106359"/>
                </a:cubicBezTo>
                <a:cubicBezTo>
                  <a:pt x="2770251" y="2008251"/>
                  <a:pt x="2849690" y="1904238"/>
                  <a:pt x="2923318" y="1796606"/>
                </a:cubicBezTo>
                <a:cubicBezTo>
                  <a:pt x="2960180" y="1742789"/>
                  <a:pt x="2995803" y="1688211"/>
                  <a:pt x="3030379" y="1633061"/>
                </a:cubicBezTo>
                <a:cubicBezTo>
                  <a:pt x="3064955" y="1577912"/>
                  <a:pt x="3098578" y="1522190"/>
                  <a:pt x="3131630" y="1466183"/>
                </a:cubicBezTo>
                <a:cubicBezTo>
                  <a:pt x="3164396" y="1410081"/>
                  <a:pt x="3197162" y="1353979"/>
                  <a:pt x="3229928" y="1297972"/>
                </a:cubicBezTo>
                <a:cubicBezTo>
                  <a:pt x="3262503" y="1241870"/>
                  <a:pt x="3295174" y="1185863"/>
                  <a:pt x="3328416" y="1130332"/>
                </a:cubicBezTo>
                <a:cubicBezTo>
                  <a:pt x="3361754" y="1074896"/>
                  <a:pt x="3395758" y="1019842"/>
                  <a:pt x="3431381" y="966121"/>
                </a:cubicBezTo>
                <a:cubicBezTo>
                  <a:pt x="3467005" y="912400"/>
                  <a:pt x="3504248" y="859822"/>
                  <a:pt x="3544348" y="809720"/>
                </a:cubicBezTo>
                <a:lnTo>
                  <a:pt x="3544348" y="809530"/>
                </a:lnTo>
                <a:cubicBezTo>
                  <a:pt x="3633788" y="697802"/>
                  <a:pt x="3734372" y="595122"/>
                  <a:pt x="3844957" y="504730"/>
                </a:cubicBezTo>
                <a:cubicBezTo>
                  <a:pt x="3873056" y="482727"/>
                  <a:pt x="3900297" y="459486"/>
                  <a:pt x="3929729" y="439293"/>
                </a:cubicBezTo>
                <a:cubicBezTo>
                  <a:pt x="3944207" y="428816"/>
                  <a:pt x="3958685" y="418433"/>
                  <a:pt x="3973164" y="407956"/>
                </a:cubicBezTo>
                <a:cubicBezTo>
                  <a:pt x="3987927" y="397954"/>
                  <a:pt x="4003072" y="388429"/>
                  <a:pt x="4017931" y="378619"/>
                </a:cubicBezTo>
                <a:cubicBezTo>
                  <a:pt x="4047458" y="358521"/>
                  <a:pt x="4078700" y="341090"/>
                  <a:pt x="4109466" y="322993"/>
                </a:cubicBezTo>
                <a:cubicBezTo>
                  <a:pt x="4124706" y="313658"/>
                  <a:pt x="4140708" y="305848"/>
                  <a:pt x="4156520" y="297371"/>
                </a:cubicBezTo>
                <a:cubicBezTo>
                  <a:pt x="4172331" y="289179"/>
                  <a:pt x="4187952" y="280511"/>
                  <a:pt x="4204050" y="272701"/>
                </a:cubicBezTo>
                <a:cubicBezTo>
                  <a:pt x="4236530" y="257842"/>
                  <a:pt x="4268343" y="241554"/>
                  <a:pt x="4301585" y="228409"/>
                </a:cubicBezTo>
                <a:cubicBezTo>
                  <a:pt x="4318064" y="221647"/>
                  <a:pt x="4334447" y="214408"/>
                  <a:pt x="4351116" y="208026"/>
                </a:cubicBezTo>
                <a:cubicBezTo>
                  <a:pt x="4367879" y="201835"/>
                  <a:pt x="4384643" y="195644"/>
                  <a:pt x="4401312" y="189452"/>
                </a:cubicBezTo>
                <a:cubicBezTo>
                  <a:pt x="4417981" y="182975"/>
                  <a:pt x="4435126" y="177927"/>
                  <a:pt x="4451985" y="172307"/>
                </a:cubicBezTo>
                <a:cubicBezTo>
                  <a:pt x="4469035" y="166878"/>
                  <a:pt x="4485799" y="160877"/>
                  <a:pt x="4503134" y="156305"/>
                </a:cubicBezTo>
                <a:lnTo>
                  <a:pt x="4554665" y="141732"/>
                </a:lnTo>
                <a:lnTo>
                  <a:pt x="4606671" y="128969"/>
                </a:lnTo>
                <a:cubicBezTo>
                  <a:pt x="4623911" y="124492"/>
                  <a:pt x="4641533" y="121158"/>
                  <a:pt x="4658964" y="117539"/>
                </a:cubicBezTo>
                <a:cubicBezTo>
                  <a:pt x="4676394" y="113824"/>
                  <a:pt x="4693920" y="110204"/>
                  <a:pt x="4711542" y="107442"/>
                </a:cubicBezTo>
                <a:cubicBezTo>
                  <a:pt x="4746689" y="100965"/>
                  <a:pt x="4782026" y="96107"/>
                  <a:pt x="4817459" y="91440"/>
                </a:cubicBezTo>
                <a:lnTo>
                  <a:pt x="4870704" y="85725"/>
                </a:lnTo>
                <a:lnTo>
                  <a:pt x="4924140" y="81439"/>
                </a:lnTo>
                <a:cubicBezTo>
                  <a:pt x="4941951" y="80296"/>
                  <a:pt x="4959763" y="79534"/>
                  <a:pt x="4977670" y="78581"/>
                </a:cubicBezTo>
                <a:lnTo>
                  <a:pt x="5031201" y="77153"/>
                </a:lnTo>
                <a:cubicBezTo>
                  <a:pt x="5052727" y="77248"/>
                  <a:pt x="5074349" y="76867"/>
                  <a:pt x="5095875" y="77724"/>
                </a:cubicBezTo>
                <a:cubicBezTo>
                  <a:pt x="5106638" y="78010"/>
                  <a:pt x="5117402" y="78105"/>
                  <a:pt x="5128165" y="78772"/>
                </a:cubicBezTo>
                <a:lnTo>
                  <a:pt x="5160455" y="80391"/>
                </a:lnTo>
                <a:lnTo>
                  <a:pt x="5192649" y="82677"/>
                </a:lnTo>
                <a:cubicBezTo>
                  <a:pt x="5203317" y="83725"/>
                  <a:pt x="5214081" y="84487"/>
                  <a:pt x="5224749" y="85725"/>
                </a:cubicBezTo>
                <a:cubicBezTo>
                  <a:pt x="5235417" y="86868"/>
                  <a:pt x="5246084" y="88011"/>
                  <a:pt x="5256657" y="89535"/>
                </a:cubicBezTo>
                <a:lnTo>
                  <a:pt x="5272469" y="91726"/>
                </a:lnTo>
                <a:lnTo>
                  <a:pt x="5277612" y="92488"/>
                </a:lnTo>
                <a:lnTo>
                  <a:pt x="5277612" y="92488"/>
                </a:lnTo>
                <a:cubicBezTo>
                  <a:pt x="5278851" y="95726"/>
                  <a:pt x="5280089" y="99060"/>
                  <a:pt x="5281327" y="102394"/>
                </a:cubicBezTo>
                <a:cubicBezTo>
                  <a:pt x="5283804" y="109347"/>
                  <a:pt x="5287042" y="115824"/>
                  <a:pt x="5289804" y="122587"/>
                </a:cubicBezTo>
                <a:cubicBezTo>
                  <a:pt x="5307045" y="161734"/>
                  <a:pt x="5327904" y="198882"/>
                  <a:pt x="5350859" y="234601"/>
                </a:cubicBezTo>
                <a:cubicBezTo>
                  <a:pt x="5374387" y="269939"/>
                  <a:pt x="5400008" y="303848"/>
                  <a:pt x="5428107" y="335661"/>
                </a:cubicBezTo>
                <a:cubicBezTo>
                  <a:pt x="5484209" y="399383"/>
                  <a:pt x="5550313" y="454343"/>
                  <a:pt x="5622893" y="498539"/>
                </a:cubicBezTo>
                <a:cubicBezTo>
                  <a:pt x="5695569" y="542639"/>
                  <a:pt x="5775198" y="575120"/>
                  <a:pt x="5857590" y="595217"/>
                </a:cubicBezTo>
                <a:cubicBezTo>
                  <a:pt x="5867877" y="597694"/>
                  <a:pt x="5878068" y="600742"/>
                  <a:pt x="5888546" y="602742"/>
                </a:cubicBezTo>
                <a:lnTo>
                  <a:pt x="5919883" y="608171"/>
                </a:lnTo>
                <a:lnTo>
                  <a:pt x="5951221" y="613505"/>
                </a:lnTo>
                <a:cubicBezTo>
                  <a:pt x="5961698" y="615125"/>
                  <a:pt x="5972270" y="615696"/>
                  <a:pt x="5982843" y="616744"/>
                </a:cubicBezTo>
                <a:lnTo>
                  <a:pt x="6014466" y="619697"/>
                </a:lnTo>
                <a:lnTo>
                  <a:pt x="6030278" y="621125"/>
                </a:lnTo>
                <a:lnTo>
                  <a:pt x="6046089" y="621411"/>
                </a:lnTo>
                <a:lnTo>
                  <a:pt x="6109526" y="622459"/>
                </a:lnTo>
                <a:cubicBezTo>
                  <a:pt x="6151817" y="619792"/>
                  <a:pt x="6194298" y="618935"/>
                  <a:pt x="6236113" y="612362"/>
                </a:cubicBezTo>
                <a:lnTo>
                  <a:pt x="6267545" y="608362"/>
                </a:lnTo>
                <a:cubicBezTo>
                  <a:pt x="6272784" y="607695"/>
                  <a:pt x="6278023" y="607124"/>
                  <a:pt x="6283262" y="606266"/>
                </a:cubicBezTo>
                <a:lnTo>
                  <a:pt x="6298788" y="603218"/>
                </a:lnTo>
                <a:lnTo>
                  <a:pt x="6360986" y="591026"/>
                </a:lnTo>
                <a:cubicBezTo>
                  <a:pt x="6366129" y="589979"/>
                  <a:pt x="6371368" y="589026"/>
                  <a:pt x="6376511" y="587883"/>
                </a:cubicBezTo>
                <a:lnTo>
                  <a:pt x="6391847" y="583883"/>
                </a:lnTo>
                <a:lnTo>
                  <a:pt x="6422422" y="575882"/>
                </a:lnTo>
                <a:lnTo>
                  <a:pt x="6452997" y="567785"/>
                </a:lnTo>
                <a:cubicBezTo>
                  <a:pt x="6463189" y="565023"/>
                  <a:pt x="6473476" y="562642"/>
                  <a:pt x="6483382" y="559118"/>
                </a:cubicBezTo>
                <a:cubicBezTo>
                  <a:pt x="6503384" y="552545"/>
                  <a:pt x="6523387" y="545973"/>
                  <a:pt x="6543390" y="539401"/>
                </a:cubicBezTo>
                <a:lnTo>
                  <a:pt x="6573393" y="529590"/>
                </a:lnTo>
                <a:cubicBezTo>
                  <a:pt x="6583299" y="526066"/>
                  <a:pt x="6593014" y="521970"/>
                  <a:pt x="6602826" y="518255"/>
                </a:cubicBezTo>
                <a:cubicBezTo>
                  <a:pt x="6641878" y="502634"/>
                  <a:pt x="6681597" y="488633"/>
                  <a:pt x="6719507" y="470440"/>
                </a:cubicBezTo>
                <a:cubicBezTo>
                  <a:pt x="6738652" y="461772"/>
                  <a:pt x="6757797" y="453104"/>
                  <a:pt x="6776943" y="444437"/>
                </a:cubicBezTo>
                <a:cubicBezTo>
                  <a:pt x="6796278" y="436150"/>
                  <a:pt x="6814757" y="426149"/>
                  <a:pt x="6833426" y="416719"/>
                </a:cubicBezTo>
                <a:cubicBezTo>
                  <a:pt x="6852095" y="407194"/>
                  <a:pt x="6870764" y="397574"/>
                  <a:pt x="6889433" y="388049"/>
                </a:cubicBezTo>
                <a:cubicBezTo>
                  <a:pt x="6898767" y="383191"/>
                  <a:pt x="6908197" y="378619"/>
                  <a:pt x="6917341" y="373571"/>
                </a:cubicBezTo>
                <a:lnTo>
                  <a:pt x="6944678" y="358045"/>
                </a:lnTo>
                <a:lnTo>
                  <a:pt x="6999256" y="326898"/>
                </a:lnTo>
                <a:cubicBezTo>
                  <a:pt x="7017354" y="316325"/>
                  <a:pt x="7035927" y="306515"/>
                  <a:pt x="7053453" y="295085"/>
                </a:cubicBezTo>
                <a:cubicBezTo>
                  <a:pt x="7053453" y="295085"/>
                  <a:pt x="7086505" y="274320"/>
                  <a:pt x="7152704" y="232886"/>
                </a:cubicBezTo>
                <a:cubicBezTo>
                  <a:pt x="7169468" y="222885"/>
                  <a:pt x="7187184" y="209836"/>
                  <a:pt x="7207472" y="196310"/>
                </a:cubicBezTo>
                <a:cubicBezTo>
                  <a:pt x="7227571" y="182594"/>
                  <a:pt x="7249763" y="167450"/>
                  <a:pt x="7273957" y="150971"/>
                </a:cubicBezTo>
                <a:cubicBezTo>
                  <a:pt x="7298437" y="134874"/>
                  <a:pt x="7323677" y="115729"/>
                  <a:pt x="7351205" y="95631"/>
                </a:cubicBezTo>
                <a:cubicBezTo>
                  <a:pt x="7378637" y="75438"/>
                  <a:pt x="7408164" y="53816"/>
                  <a:pt x="7439502" y="30671"/>
                </a:cubicBezTo>
                <a:close/>
              </a:path>
            </a:pathLst>
          </a:custGeom>
          <a:gradFill>
            <a:gsLst>
              <a:gs pos="93000">
                <a:schemeClr val="accent2">
                  <a:alpha val="0"/>
                </a:schemeClr>
              </a:gs>
              <a:gs pos="17000">
                <a:schemeClr val="accent2">
                  <a:alpha val="0"/>
                </a:schemeClr>
              </a:gs>
              <a:gs pos="72000">
                <a:schemeClr val="accent2"/>
              </a:gs>
              <a:gs pos="38000">
                <a:schemeClr val="accent2"/>
              </a:gs>
            </a:gsLst>
            <a:lin ang="0" scaled="1"/>
          </a:gradFill>
          <a:ln w="0" cap="flat">
            <a:noFill/>
            <a:prstDash val="solid"/>
            <a:miter/>
          </a:ln>
        </p:spPr>
        <p:txBody>
          <a:bodyPr rtlCol="0" anchor="ctr"/>
          <a:lstStyle/>
          <a:p>
            <a:endParaRPr lang="en-US"/>
          </a:p>
        </p:txBody>
      </p:sp>
      <p:sp>
        <p:nvSpPr>
          <p:cNvPr id="10" name="Rectangle 9">
            <a:extLst>
              <a:ext uri="{FF2B5EF4-FFF2-40B4-BE49-F238E27FC236}">
                <a16:creationId xmlns:a16="http://schemas.microsoft.com/office/drawing/2014/main" id="{E04D3D29-84CD-2A66-F333-E3DF1C437735}"/>
              </a:ext>
            </a:extLst>
          </p:cNvPr>
          <p:cNvSpPr/>
          <p:nvPr userDrawn="1"/>
        </p:nvSpPr>
        <p:spPr>
          <a:xfrm>
            <a:off x="407369" y="1749849"/>
            <a:ext cx="4528367"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tx1"/>
                </a:solidFill>
                <a:effectLst/>
                <a:latin typeface="+mn-lt"/>
              </a:rPr>
              <a:t>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cloud and data, combined with its deep industry expertise and partner ecosystem. The Group reported 2023 global revenues of €22.5 billion.</a:t>
            </a:r>
          </a:p>
        </p:txBody>
      </p:sp>
      <p:sp>
        <p:nvSpPr>
          <p:cNvPr id="11" name="Rectangle 10">
            <a:extLst>
              <a:ext uri="{FF2B5EF4-FFF2-40B4-BE49-F238E27FC236}">
                <a16:creationId xmlns:a16="http://schemas.microsoft.com/office/drawing/2014/main" id="{B95450E3-AF20-A973-1307-181AA7F8DF31}"/>
              </a:ext>
            </a:extLst>
          </p:cNvPr>
          <p:cNvSpPr/>
          <p:nvPr userDrawn="1"/>
        </p:nvSpPr>
        <p:spPr>
          <a:xfrm>
            <a:off x="407368" y="351180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US" sz="900">
                <a:solidFill>
                  <a:schemeClr val="tx1"/>
                </a:solidFill>
                <a:effectLst/>
                <a:latin typeface="Ubuntu" panose="020B0504030602030204" pitchFamily="34" charset="0"/>
              </a:rPr>
              <a:t>Get the future you want | </a:t>
            </a:r>
            <a:r>
              <a:rPr lang="en-US" sz="1050">
                <a:solidFill>
                  <a:schemeClr val="accent2"/>
                </a:solidFill>
                <a:latin typeface="Ubuntu" panose="020B0504030602030204" pitchFamily="34" charset="0"/>
              </a:rPr>
              <a:t>www.capgemini.com</a:t>
            </a:r>
          </a:p>
        </p:txBody>
      </p:sp>
      <p:sp>
        <p:nvSpPr>
          <p:cNvPr id="12" name="TextBox 11">
            <a:extLst>
              <a:ext uri="{FF2B5EF4-FFF2-40B4-BE49-F238E27FC236}">
                <a16:creationId xmlns:a16="http://schemas.microsoft.com/office/drawing/2014/main" id="{912F6A9B-9C5F-E957-36EC-E0B007DECF79}"/>
              </a:ext>
            </a:extLst>
          </p:cNvPr>
          <p:cNvSpPr txBox="1"/>
          <p:nvPr userDrawn="1"/>
        </p:nvSpPr>
        <p:spPr>
          <a:xfrm>
            <a:off x="358541" y="1219463"/>
            <a:ext cx="4577195" cy="307777"/>
          </a:xfrm>
          <a:prstGeom prst="rect">
            <a:avLst/>
          </a:prstGeom>
          <a:noFill/>
        </p:spPr>
        <p:txBody>
          <a:bodyPr wrap="square">
            <a:spAutoFit/>
          </a:bodyPr>
          <a:lstStyle/>
          <a:p>
            <a:r>
              <a:rPr kumimoji="0" lang="en-US" sz="1400" b="1" i="0" u="none" strike="noStrike" kern="1200" cap="none" spc="0" normalizeH="0" baseline="0" noProof="0">
                <a:ln>
                  <a:noFill/>
                </a:ln>
                <a:solidFill>
                  <a:schemeClr val="tx1"/>
                </a:solidFill>
                <a:effectLst/>
                <a:uLnTx/>
                <a:uFillTx/>
                <a:latin typeface="+mn-lt"/>
                <a:ea typeface="+mn-ea"/>
                <a:cs typeface="+mn-cs"/>
              </a:rPr>
              <a:t>About Capgemini</a:t>
            </a:r>
            <a:endParaRPr lang="en-US" sz="1400" b="1">
              <a:solidFill>
                <a:schemeClr val="tx1"/>
              </a:solidFill>
            </a:endParaRPr>
          </a:p>
        </p:txBody>
      </p:sp>
    </p:spTree>
    <p:extLst>
      <p:ext uri="{BB962C8B-B14F-4D97-AF65-F5344CB8AC3E}">
        <p14:creationId xmlns:p14="http://schemas.microsoft.com/office/powerpoint/2010/main" val="157910014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Conclusion">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680309"/>
            <a:ext cx="11356975" cy="1495794"/>
          </a:xfrm>
          <a:prstGeom prst="rect">
            <a:avLst/>
          </a:prstGeom>
        </p:spPr>
        <p:txBody>
          <a:bodyPr wrap="square" anchor="ctr" anchorCtr="0">
            <a:spAutoFit/>
          </a:bodyPr>
          <a:lstStyle>
            <a:lvl1pPr marL="0" indent="0" algn="l">
              <a:lnSpc>
                <a:spcPct val="90000"/>
              </a:lnSpc>
              <a:spcBef>
                <a:spcPts val="0"/>
              </a:spcBef>
              <a:spcAft>
                <a:spcPts val="0"/>
              </a:spcAft>
              <a:buFontTx/>
              <a:buNone/>
              <a:defRPr sz="54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insert cover title (sentence case) </a:t>
            </a:r>
            <a:endParaRPr lang="fr-FR"/>
          </a:p>
        </p:txBody>
      </p:sp>
      <p:grpSp>
        <p:nvGrpSpPr>
          <p:cNvPr id="5" name="Group 2">
            <a:extLst>
              <a:ext uri="{FF2B5EF4-FFF2-40B4-BE49-F238E27FC236}">
                <a16:creationId xmlns:a16="http://schemas.microsoft.com/office/drawing/2014/main" id="{6C2E4BB5-C5E3-F6F8-4261-BF330F6E49AC}"/>
              </a:ext>
            </a:extLst>
          </p:cNvPr>
          <p:cNvGrpSpPr>
            <a:grpSpLocks noChangeAspect="1"/>
          </p:cNvGrpSpPr>
          <p:nvPr userDrawn="1"/>
        </p:nvGrpSpPr>
        <p:grpSpPr>
          <a:xfrm>
            <a:off x="443568" y="6021288"/>
            <a:ext cx="1872000" cy="420870"/>
            <a:chOff x="5094083" y="5360390"/>
            <a:chExt cx="3039349" cy="683316"/>
          </a:xfrm>
        </p:grpSpPr>
        <p:sp>
          <p:nvSpPr>
            <p:cNvPr id="7" name="Freeform: Shape 4">
              <a:extLst>
                <a:ext uri="{FF2B5EF4-FFF2-40B4-BE49-F238E27FC236}">
                  <a16:creationId xmlns:a16="http://schemas.microsoft.com/office/drawing/2014/main" id="{0F3FBF3D-73C2-AEF9-6A29-26E9974EB2B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a:p>
          </p:txBody>
        </p:sp>
        <p:sp>
          <p:nvSpPr>
            <p:cNvPr id="8" name="Freeform: Shape 5">
              <a:extLst>
                <a:ext uri="{FF2B5EF4-FFF2-40B4-BE49-F238E27FC236}">
                  <a16:creationId xmlns:a16="http://schemas.microsoft.com/office/drawing/2014/main" id="{16D7EF54-CF87-4A1F-B1F7-681296888423}"/>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a:p>
          </p:txBody>
        </p:sp>
        <p:sp>
          <p:nvSpPr>
            <p:cNvPr id="9" name="Freeform: Shape 6">
              <a:extLst>
                <a:ext uri="{FF2B5EF4-FFF2-40B4-BE49-F238E27FC236}">
                  <a16:creationId xmlns:a16="http://schemas.microsoft.com/office/drawing/2014/main" id="{411034BC-7D78-A8D4-1F4A-8C4D8937B48B}"/>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a:p>
          </p:txBody>
        </p:sp>
        <p:sp>
          <p:nvSpPr>
            <p:cNvPr id="10" name="Freeform: Shape 7">
              <a:extLst>
                <a:ext uri="{FF2B5EF4-FFF2-40B4-BE49-F238E27FC236}">
                  <a16:creationId xmlns:a16="http://schemas.microsoft.com/office/drawing/2014/main" id="{91A42476-4DC0-A3D4-0B82-C32497A9655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a:p>
          </p:txBody>
        </p:sp>
        <p:sp>
          <p:nvSpPr>
            <p:cNvPr id="15" name="Freeform: Shape 8">
              <a:extLst>
                <a:ext uri="{FF2B5EF4-FFF2-40B4-BE49-F238E27FC236}">
                  <a16:creationId xmlns:a16="http://schemas.microsoft.com/office/drawing/2014/main" id="{61A1CDED-A495-D2CB-B478-6B5C933C774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a:p>
          </p:txBody>
        </p:sp>
      </p:grpSp>
      <p:sp>
        <p:nvSpPr>
          <p:cNvPr id="2" name="Graphic 5">
            <a:extLst>
              <a:ext uri="{FF2B5EF4-FFF2-40B4-BE49-F238E27FC236}">
                <a16:creationId xmlns:a16="http://schemas.microsoft.com/office/drawing/2014/main" id="{CC70152D-DD07-E4D9-7D15-37D3178D8CFE}"/>
              </a:ext>
            </a:extLst>
          </p:cNvPr>
          <p:cNvSpPr/>
          <p:nvPr userDrawn="1"/>
        </p:nvSpPr>
        <p:spPr>
          <a:xfrm flipH="1">
            <a:off x="3641818" y="2157788"/>
            <a:ext cx="10788340" cy="4379564"/>
          </a:xfrm>
          <a:custGeom>
            <a:avLst/>
            <a:gdLst>
              <a:gd name="connsiteX0" fmla="*/ 95 w 7439501"/>
              <a:gd name="connsiteY0" fmla="*/ 480822 h 3020091"/>
              <a:gd name="connsiteX1" fmla="*/ 6572 w 7439501"/>
              <a:gd name="connsiteY1" fmla="*/ 487775 h 3020091"/>
              <a:gd name="connsiteX2" fmla="*/ 13049 w 7439501"/>
              <a:gd name="connsiteY2" fmla="*/ 494729 h 3020091"/>
              <a:gd name="connsiteX3" fmla="*/ 19526 w 7439501"/>
              <a:gd name="connsiteY3" fmla="*/ 501682 h 3020091"/>
              <a:gd name="connsiteX4" fmla="*/ 26003 w 7439501"/>
              <a:gd name="connsiteY4" fmla="*/ 508635 h 3020091"/>
              <a:gd name="connsiteX5" fmla="*/ 150876 w 7439501"/>
              <a:gd name="connsiteY5" fmla="*/ 403479 h 3020091"/>
              <a:gd name="connsiteX6" fmla="*/ 180404 w 7439501"/>
              <a:gd name="connsiteY6" fmla="*/ 380524 h 3020091"/>
              <a:gd name="connsiteX7" fmla="*/ 194786 w 7439501"/>
              <a:gd name="connsiteY7" fmla="*/ 369380 h 3020091"/>
              <a:gd name="connsiteX8" fmla="*/ 209550 w 7439501"/>
              <a:gd name="connsiteY8" fmla="*/ 359283 h 3020091"/>
              <a:gd name="connsiteX9" fmla="*/ 265652 w 7439501"/>
              <a:gd name="connsiteY9" fmla="*/ 320897 h 3020091"/>
              <a:gd name="connsiteX10" fmla="*/ 278987 w 7439501"/>
              <a:gd name="connsiteY10" fmla="*/ 311753 h 3020091"/>
              <a:gd name="connsiteX11" fmla="*/ 292513 w 7439501"/>
              <a:gd name="connsiteY11" fmla="*/ 303562 h 3020091"/>
              <a:gd name="connsiteX12" fmla="*/ 318707 w 7439501"/>
              <a:gd name="connsiteY12" fmla="*/ 287846 h 3020091"/>
              <a:gd name="connsiteX13" fmla="*/ 367665 w 7439501"/>
              <a:gd name="connsiteY13" fmla="*/ 258509 h 3020091"/>
              <a:gd name="connsiteX14" fmla="*/ 454438 w 7439501"/>
              <a:gd name="connsiteY14" fmla="*/ 213265 h 3020091"/>
              <a:gd name="connsiteX15" fmla="*/ 574167 w 7439501"/>
              <a:gd name="connsiteY15" fmla="*/ 161544 h 3020091"/>
              <a:gd name="connsiteX16" fmla="*/ 614839 w 7439501"/>
              <a:gd name="connsiteY16" fmla="*/ 146018 h 3020091"/>
              <a:gd name="connsiteX17" fmla="*/ 633889 w 7439501"/>
              <a:gd name="connsiteY17" fmla="*/ 138875 h 3020091"/>
              <a:gd name="connsiteX18" fmla="*/ 653225 w 7439501"/>
              <a:gd name="connsiteY18" fmla="*/ 132683 h 3020091"/>
              <a:gd name="connsiteX19" fmla="*/ 691991 w 7439501"/>
              <a:gd name="connsiteY19" fmla="*/ 120301 h 3020091"/>
              <a:gd name="connsiteX20" fmla="*/ 770192 w 7439501"/>
              <a:gd name="connsiteY20" fmla="*/ 98108 h 3020091"/>
              <a:gd name="connsiteX21" fmla="*/ 809530 w 7439501"/>
              <a:gd name="connsiteY21" fmla="*/ 87821 h 3020091"/>
              <a:gd name="connsiteX22" fmla="*/ 849344 w 7439501"/>
              <a:gd name="connsiteY22" fmla="*/ 79534 h 3020091"/>
              <a:gd name="connsiteX23" fmla="*/ 929259 w 7439501"/>
              <a:gd name="connsiteY23" fmla="*/ 64484 h 3020091"/>
              <a:gd name="connsiteX24" fmla="*/ 1090803 w 7439501"/>
              <a:gd name="connsiteY24" fmla="*/ 44672 h 3020091"/>
              <a:gd name="connsiteX25" fmla="*/ 1172147 w 7439501"/>
              <a:gd name="connsiteY25" fmla="*/ 39719 h 3020091"/>
              <a:gd name="connsiteX26" fmla="*/ 1253585 w 7439501"/>
              <a:gd name="connsiteY26" fmla="*/ 37910 h 3020091"/>
              <a:gd name="connsiteX27" fmla="*/ 1571149 w 7439501"/>
              <a:gd name="connsiteY27" fmla="*/ 59150 h 3020091"/>
              <a:gd name="connsiteX28" fmla="*/ 1884712 w 7439501"/>
              <a:gd name="connsiteY28" fmla="*/ 117253 h 3020091"/>
              <a:gd name="connsiteX29" fmla="*/ 2192084 w 7439501"/>
              <a:gd name="connsiteY29" fmla="*/ 204121 h 3020091"/>
              <a:gd name="connsiteX30" fmla="*/ 2343626 w 7439501"/>
              <a:gd name="connsiteY30" fmla="*/ 255556 h 3020091"/>
              <a:gd name="connsiteX31" fmla="*/ 2486692 w 7439501"/>
              <a:gd name="connsiteY31" fmla="*/ 306800 h 3020091"/>
              <a:gd name="connsiteX32" fmla="*/ 2486692 w 7439501"/>
              <a:gd name="connsiteY32" fmla="*/ 306800 h 3020091"/>
              <a:gd name="connsiteX33" fmla="*/ 2579275 w 7439501"/>
              <a:gd name="connsiteY33" fmla="*/ 529781 h 3020091"/>
              <a:gd name="connsiteX34" fmla="*/ 2656809 w 7439501"/>
              <a:gd name="connsiteY34" fmla="*/ 713708 h 3020091"/>
              <a:gd name="connsiteX35" fmla="*/ 2735580 w 7439501"/>
              <a:gd name="connsiteY35" fmla="*/ 897160 h 3020091"/>
              <a:gd name="connsiteX36" fmla="*/ 2815971 w 7439501"/>
              <a:gd name="connsiteY36" fmla="*/ 1079945 h 3020091"/>
              <a:gd name="connsiteX37" fmla="*/ 2898362 w 7439501"/>
              <a:gd name="connsiteY37" fmla="*/ 1261872 h 3020091"/>
              <a:gd name="connsiteX38" fmla="*/ 2983135 w 7439501"/>
              <a:gd name="connsiteY38" fmla="*/ 1442752 h 3020091"/>
              <a:gd name="connsiteX39" fmla="*/ 3070860 w 7439501"/>
              <a:gd name="connsiteY39" fmla="*/ 1622298 h 3020091"/>
              <a:gd name="connsiteX40" fmla="*/ 3258122 w 7439501"/>
              <a:gd name="connsiteY40" fmla="*/ 1975676 h 3020091"/>
              <a:gd name="connsiteX41" fmla="*/ 3359468 w 7439501"/>
              <a:gd name="connsiteY41" fmla="*/ 2148269 h 3020091"/>
              <a:gd name="connsiteX42" fmla="*/ 3467767 w 7439501"/>
              <a:gd name="connsiteY42" fmla="*/ 2316861 h 3020091"/>
              <a:gd name="connsiteX43" fmla="*/ 3712940 w 7439501"/>
              <a:gd name="connsiteY43" fmla="*/ 2634615 h 3020091"/>
              <a:gd name="connsiteX44" fmla="*/ 3855911 w 7439501"/>
              <a:gd name="connsiteY44" fmla="*/ 2776633 h 3020091"/>
              <a:gd name="connsiteX45" fmla="*/ 3934111 w 7439501"/>
              <a:gd name="connsiteY45" fmla="*/ 2840831 h 3020091"/>
              <a:gd name="connsiteX46" fmla="*/ 4017740 w 7439501"/>
              <a:gd name="connsiteY46" fmla="*/ 2898267 h 3020091"/>
              <a:gd name="connsiteX47" fmla="*/ 4201573 w 7439501"/>
              <a:gd name="connsiteY47" fmla="*/ 2985611 h 3020091"/>
              <a:gd name="connsiteX48" fmla="*/ 4300919 w 7439501"/>
              <a:gd name="connsiteY48" fmla="*/ 3010567 h 3020091"/>
              <a:gd name="connsiteX49" fmla="*/ 4403217 w 7439501"/>
              <a:gd name="connsiteY49" fmla="*/ 3020092 h 3020091"/>
              <a:gd name="connsiteX50" fmla="*/ 4403408 w 7439501"/>
              <a:gd name="connsiteY50" fmla="*/ 3020092 h 3020091"/>
              <a:gd name="connsiteX51" fmla="*/ 4575334 w 7439501"/>
              <a:gd name="connsiteY51" fmla="*/ 3004280 h 3020091"/>
              <a:gd name="connsiteX52" fmla="*/ 4741640 w 7439501"/>
              <a:gd name="connsiteY52" fmla="*/ 2959894 h 3020091"/>
              <a:gd name="connsiteX53" fmla="*/ 5048155 w 7439501"/>
              <a:gd name="connsiteY53" fmla="*/ 2807875 h 3020091"/>
              <a:gd name="connsiteX54" fmla="*/ 5324094 w 7439501"/>
              <a:gd name="connsiteY54" fmla="*/ 2608040 h 3020091"/>
              <a:gd name="connsiteX55" fmla="*/ 5581459 w 7439501"/>
              <a:gd name="connsiteY55" fmla="*/ 2386394 h 3020091"/>
              <a:gd name="connsiteX56" fmla="*/ 6083522 w 7439501"/>
              <a:gd name="connsiteY56" fmla="*/ 1932527 h 3020091"/>
              <a:gd name="connsiteX57" fmla="*/ 6628162 w 7439501"/>
              <a:gd name="connsiteY57" fmla="*/ 1538478 h 3020091"/>
              <a:gd name="connsiteX58" fmla="*/ 6791992 w 7439501"/>
              <a:gd name="connsiteY58" fmla="*/ 1457325 h 3020091"/>
              <a:gd name="connsiteX59" fmla="*/ 6963442 w 7439501"/>
              <a:gd name="connsiteY59" fmla="*/ 1395032 h 3020091"/>
              <a:gd name="connsiteX60" fmla="*/ 7322344 w 7439501"/>
              <a:gd name="connsiteY60" fmla="*/ 1340930 h 3020091"/>
              <a:gd name="connsiteX61" fmla="*/ 7350824 w 7439501"/>
              <a:gd name="connsiteY61" fmla="*/ 1341501 h 3020091"/>
              <a:gd name="connsiteX62" fmla="*/ 7386352 w 7439501"/>
              <a:gd name="connsiteY62" fmla="*/ 1342549 h 3020091"/>
              <a:gd name="connsiteX63" fmla="*/ 7436072 w 7439501"/>
              <a:gd name="connsiteY63" fmla="*/ 1345883 h 3020091"/>
              <a:gd name="connsiteX64" fmla="*/ 7436930 w 7439501"/>
              <a:gd name="connsiteY64" fmla="*/ 1336358 h 3020091"/>
              <a:gd name="connsiteX65" fmla="*/ 7437787 w 7439501"/>
              <a:gd name="connsiteY65" fmla="*/ 1326833 h 3020091"/>
              <a:gd name="connsiteX66" fmla="*/ 7438644 w 7439501"/>
              <a:gd name="connsiteY66" fmla="*/ 1317308 h 3020091"/>
              <a:gd name="connsiteX67" fmla="*/ 7439501 w 7439501"/>
              <a:gd name="connsiteY67" fmla="*/ 1307783 h 3020091"/>
              <a:gd name="connsiteX68" fmla="*/ 7388257 w 7439501"/>
              <a:gd name="connsiteY68" fmla="*/ 1304354 h 3020091"/>
              <a:gd name="connsiteX69" fmla="*/ 7351586 w 7439501"/>
              <a:gd name="connsiteY69" fmla="*/ 1303306 h 3020091"/>
              <a:gd name="connsiteX70" fmla="*/ 7322249 w 7439501"/>
              <a:gd name="connsiteY70" fmla="*/ 1302734 h 3020091"/>
              <a:gd name="connsiteX71" fmla="*/ 6952679 w 7439501"/>
              <a:gd name="connsiteY71" fmla="*/ 1358456 h 3020091"/>
              <a:gd name="connsiteX72" fmla="*/ 6776942 w 7439501"/>
              <a:gd name="connsiteY72" fmla="*/ 1422273 h 3020091"/>
              <a:gd name="connsiteX73" fmla="*/ 6609683 w 7439501"/>
              <a:gd name="connsiteY73" fmla="*/ 1505045 h 3020091"/>
              <a:gd name="connsiteX74" fmla="*/ 6058758 w 7439501"/>
              <a:gd name="connsiteY74" fmla="*/ 1903571 h 3020091"/>
              <a:gd name="connsiteX75" fmla="*/ 5556028 w 7439501"/>
              <a:gd name="connsiteY75" fmla="*/ 2358104 h 3020091"/>
              <a:gd name="connsiteX76" fmla="*/ 5300282 w 7439501"/>
              <a:gd name="connsiteY76" fmla="*/ 2578418 h 3020091"/>
              <a:gd name="connsiteX77" fmla="*/ 5027962 w 7439501"/>
              <a:gd name="connsiteY77" fmla="*/ 2775585 h 3020091"/>
              <a:gd name="connsiteX78" fmla="*/ 4728972 w 7439501"/>
              <a:gd name="connsiteY78" fmla="*/ 2923985 h 3020091"/>
              <a:gd name="connsiteX79" fmla="*/ 4568476 w 7439501"/>
              <a:gd name="connsiteY79" fmla="*/ 2966847 h 3020091"/>
              <a:gd name="connsiteX80" fmla="*/ 4403694 w 7439501"/>
              <a:gd name="connsiteY80" fmla="*/ 2982087 h 3020091"/>
              <a:gd name="connsiteX81" fmla="*/ 4403503 w 7439501"/>
              <a:gd name="connsiteY81" fmla="*/ 2982087 h 3020091"/>
              <a:gd name="connsiteX82" fmla="*/ 4307396 w 7439501"/>
              <a:gd name="connsiteY82" fmla="*/ 2973134 h 3020091"/>
              <a:gd name="connsiteX83" fmla="*/ 4213479 w 7439501"/>
              <a:gd name="connsiteY83" fmla="*/ 2949512 h 3020091"/>
              <a:gd name="connsiteX84" fmla="*/ 4037838 w 7439501"/>
              <a:gd name="connsiteY84" fmla="*/ 2865978 h 3020091"/>
              <a:gd name="connsiteX85" fmla="*/ 3957066 w 7439501"/>
              <a:gd name="connsiteY85" fmla="*/ 2810542 h 3020091"/>
              <a:gd name="connsiteX86" fmla="*/ 3881057 w 7439501"/>
              <a:gd name="connsiteY86" fmla="*/ 2748153 h 3020091"/>
              <a:gd name="connsiteX87" fmla="*/ 3741134 w 7439501"/>
              <a:gd name="connsiteY87" fmla="*/ 2609183 h 3020091"/>
              <a:gd name="connsiteX88" fmla="*/ 3499295 w 7439501"/>
              <a:gd name="connsiteY88" fmla="*/ 2295620 h 3020091"/>
              <a:gd name="connsiteX89" fmla="*/ 3391948 w 7439501"/>
              <a:gd name="connsiteY89" fmla="*/ 2128457 h 3020091"/>
              <a:gd name="connsiteX90" fmla="*/ 3291364 w 7439501"/>
              <a:gd name="connsiteY90" fmla="*/ 1957007 h 3020091"/>
              <a:gd name="connsiteX91" fmla="*/ 3104960 w 7439501"/>
              <a:gd name="connsiteY91" fmla="*/ 1605343 h 3020091"/>
              <a:gd name="connsiteX92" fmla="*/ 3017520 w 7439501"/>
              <a:gd name="connsiteY92" fmla="*/ 1426369 h 3020091"/>
              <a:gd name="connsiteX93" fmla="*/ 2932938 w 7439501"/>
              <a:gd name="connsiteY93" fmla="*/ 1245965 h 3020091"/>
              <a:gd name="connsiteX94" fmla="*/ 2850737 w 7439501"/>
              <a:gd name="connsiteY94" fmla="*/ 1064419 h 3020091"/>
              <a:gd name="connsiteX95" fmla="*/ 2770442 w 7439501"/>
              <a:gd name="connsiteY95" fmla="*/ 882015 h 3020091"/>
              <a:gd name="connsiteX96" fmla="*/ 2691765 w 7439501"/>
              <a:gd name="connsiteY96" fmla="*/ 698849 h 3020091"/>
              <a:gd name="connsiteX97" fmla="*/ 2614327 w 7439501"/>
              <a:gd name="connsiteY97" fmla="*/ 515112 h 3020091"/>
              <a:gd name="connsiteX98" fmla="*/ 2515457 w 7439501"/>
              <a:gd name="connsiteY98" fmla="*/ 276892 h 3020091"/>
              <a:gd name="connsiteX99" fmla="*/ 2515267 w 7439501"/>
              <a:gd name="connsiteY99" fmla="*/ 276606 h 3020091"/>
              <a:gd name="connsiteX100" fmla="*/ 2356199 w 7439501"/>
              <a:gd name="connsiteY100" fmla="*/ 219647 h 3020091"/>
              <a:gd name="connsiteX101" fmla="*/ 2203704 w 7439501"/>
              <a:gd name="connsiteY101" fmla="*/ 167926 h 3020091"/>
              <a:gd name="connsiteX102" fmla="*/ 1893380 w 7439501"/>
              <a:gd name="connsiteY102" fmla="*/ 80296 h 3020091"/>
              <a:gd name="connsiteX103" fmla="*/ 1575911 w 7439501"/>
              <a:gd name="connsiteY103" fmla="*/ 21527 h 3020091"/>
              <a:gd name="connsiteX104" fmla="*/ 1253585 w 7439501"/>
              <a:gd name="connsiteY104" fmla="*/ 0 h 3020091"/>
              <a:gd name="connsiteX105" fmla="*/ 1170718 w 7439501"/>
              <a:gd name="connsiteY105" fmla="*/ 1810 h 3020091"/>
              <a:gd name="connsiteX106" fmla="*/ 1087946 w 7439501"/>
              <a:gd name="connsiteY106" fmla="*/ 6858 h 3020091"/>
              <a:gd name="connsiteX107" fmla="*/ 923258 w 7439501"/>
              <a:gd name="connsiteY107" fmla="*/ 27051 h 3020091"/>
              <a:gd name="connsiteX108" fmla="*/ 841629 w 7439501"/>
              <a:gd name="connsiteY108" fmla="*/ 42386 h 3020091"/>
              <a:gd name="connsiteX109" fmla="*/ 800957 w 7439501"/>
              <a:gd name="connsiteY109" fmla="*/ 50864 h 3020091"/>
              <a:gd name="connsiteX110" fmla="*/ 760762 w 7439501"/>
              <a:gd name="connsiteY110" fmla="*/ 61341 h 3020091"/>
              <a:gd name="connsiteX111" fmla="*/ 680847 w 7439501"/>
              <a:gd name="connsiteY111" fmla="*/ 84011 h 3020091"/>
              <a:gd name="connsiteX112" fmla="*/ 641223 w 7439501"/>
              <a:gd name="connsiteY112" fmla="*/ 96679 h 3020091"/>
              <a:gd name="connsiteX113" fmla="*/ 621411 w 7439501"/>
              <a:gd name="connsiteY113" fmla="*/ 103061 h 3020091"/>
              <a:gd name="connsiteX114" fmla="*/ 601980 w 7439501"/>
              <a:gd name="connsiteY114" fmla="*/ 110395 h 3020091"/>
              <a:gd name="connsiteX115" fmla="*/ 560451 w 7439501"/>
              <a:gd name="connsiteY115" fmla="*/ 126302 h 3020091"/>
              <a:gd name="connsiteX116" fmla="*/ 437960 w 7439501"/>
              <a:gd name="connsiteY116" fmla="*/ 179261 h 3020091"/>
              <a:gd name="connsiteX117" fmla="*/ 349187 w 7439501"/>
              <a:gd name="connsiteY117" fmla="*/ 225552 h 3020091"/>
              <a:gd name="connsiteX118" fmla="*/ 299085 w 7439501"/>
              <a:gd name="connsiteY118" fmla="*/ 255556 h 3020091"/>
              <a:gd name="connsiteX119" fmla="*/ 272225 w 7439501"/>
              <a:gd name="connsiteY119" fmla="*/ 271653 h 3020091"/>
              <a:gd name="connsiteX120" fmla="*/ 258413 w 7439501"/>
              <a:gd name="connsiteY120" fmla="*/ 280035 h 3020091"/>
              <a:gd name="connsiteX121" fmla="*/ 244793 w 7439501"/>
              <a:gd name="connsiteY121" fmla="*/ 289370 h 3020091"/>
              <a:gd name="connsiteX122" fmla="*/ 187452 w 7439501"/>
              <a:gd name="connsiteY122" fmla="*/ 328613 h 3020091"/>
              <a:gd name="connsiteX123" fmla="*/ 172403 w 7439501"/>
              <a:gd name="connsiteY123" fmla="*/ 338900 h 3020091"/>
              <a:gd name="connsiteX124" fmla="*/ 157639 w 7439501"/>
              <a:gd name="connsiteY124" fmla="*/ 350234 h 3020091"/>
              <a:gd name="connsiteX125" fmla="*/ 127445 w 7439501"/>
              <a:gd name="connsiteY125" fmla="*/ 373666 h 3020091"/>
              <a:gd name="connsiteX126" fmla="*/ 0 w 7439501"/>
              <a:gd name="connsiteY126" fmla="*/ 481013 h 3020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7439501" h="3020091">
                <a:moveTo>
                  <a:pt x="95" y="480822"/>
                </a:moveTo>
                <a:lnTo>
                  <a:pt x="6572" y="487775"/>
                </a:lnTo>
                <a:lnTo>
                  <a:pt x="13049" y="494729"/>
                </a:lnTo>
                <a:lnTo>
                  <a:pt x="19526" y="501682"/>
                </a:lnTo>
                <a:lnTo>
                  <a:pt x="26003" y="508635"/>
                </a:lnTo>
                <a:cubicBezTo>
                  <a:pt x="69914" y="470630"/>
                  <a:pt x="109823" y="433483"/>
                  <a:pt x="150876" y="403479"/>
                </a:cubicBezTo>
                <a:lnTo>
                  <a:pt x="180404" y="380524"/>
                </a:lnTo>
                <a:lnTo>
                  <a:pt x="194786" y="369380"/>
                </a:lnTo>
                <a:lnTo>
                  <a:pt x="209550" y="359283"/>
                </a:lnTo>
                <a:lnTo>
                  <a:pt x="265652" y="320897"/>
                </a:lnTo>
                <a:lnTo>
                  <a:pt x="278987" y="311753"/>
                </a:lnTo>
                <a:lnTo>
                  <a:pt x="292513" y="303562"/>
                </a:lnTo>
                <a:lnTo>
                  <a:pt x="318707" y="287846"/>
                </a:lnTo>
                <a:lnTo>
                  <a:pt x="367665" y="258509"/>
                </a:lnTo>
                <a:lnTo>
                  <a:pt x="454438" y="213265"/>
                </a:lnTo>
                <a:cubicBezTo>
                  <a:pt x="507397" y="189643"/>
                  <a:pt x="546735" y="170879"/>
                  <a:pt x="574167" y="161544"/>
                </a:cubicBezTo>
                <a:lnTo>
                  <a:pt x="614839" y="146018"/>
                </a:lnTo>
                <a:cubicBezTo>
                  <a:pt x="621221" y="143637"/>
                  <a:pt x="627412" y="141065"/>
                  <a:pt x="633889" y="138875"/>
                </a:cubicBezTo>
                <a:lnTo>
                  <a:pt x="653225" y="132683"/>
                </a:lnTo>
                <a:lnTo>
                  <a:pt x="691991" y="120301"/>
                </a:lnTo>
                <a:cubicBezTo>
                  <a:pt x="717614" y="111443"/>
                  <a:pt x="743998" y="104966"/>
                  <a:pt x="770192" y="98108"/>
                </a:cubicBezTo>
                <a:lnTo>
                  <a:pt x="809530" y="87821"/>
                </a:lnTo>
                <a:lnTo>
                  <a:pt x="849344" y="79534"/>
                </a:lnTo>
                <a:cubicBezTo>
                  <a:pt x="875919" y="74105"/>
                  <a:pt x="902399" y="68104"/>
                  <a:pt x="929259" y="64484"/>
                </a:cubicBezTo>
                <a:cubicBezTo>
                  <a:pt x="982694" y="55340"/>
                  <a:pt x="1036701" y="49435"/>
                  <a:pt x="1090803" y="44672"/>
                </a:cubicBezTo>
                <a:cubicBezTo>
                  <a:pt x="1117949" y="43053"/>
                  <a:pt x="1145000" y="40958"/>
                  <a:pt x="1172147" y="39719"/>
                </a:cubicBezTo>
                <a:lnTo>
                  <a:pt x="1253585" y="37910"/>
                </a:lnTo>
                <a:cubicBezTo>
                  <a:pt x="1359694" y="37910"/>
                  <a:pt x="1465802" y="45434"/>
                  <a:pt x="1571149" y="59150"/>
                </a:cubicBezTo>
                <a:cubicBezTo>
                  <a:pt x="1676495" y="72771"/>
                  <a:pt x="1781175" y="92583"/>
                  <a:pt x="1884712" y="117253"/>
                </a:cubicBezTo>
                <a:cubicBezTo>
                  <a:pt x="1988249" y="141923"/>
                  <a:pt x="2090738" y="171069"/>
                  <a:pt x="2192084" y="204121"/>
                </a:cubicBezTo>
                <a:cubicBezTo>
                  <a:pt x="2242757" y="220599"/>
                  <a:pt x="2293239" y="237744"/>
                  <a:pt x="2343626" y="255556"/>
                </a:cubicBezTo>
                <a:cubicBezTo>
                  <a:pt x="2391347" y="272606"/>
                  <a:pt x="2439067" y="289751"/>
                  <a:pt x="2486692" y="306800"/>
                </a:cubicBezTo>
                <a:lnTo>
                  <a:pt x="2486692" y="306800"/>
                </a:lnTo>
                <a:cubicBezTo>
                  <a:pt x="2517553" y="381095"/>
                  <a:pt x="2548414" y="455486"/>
                  <a:pt x="2579275" y="529781"/>
                </a:cubicBezTo>
                <a:cubicBezTo>
                  <a:pt x="2605088" y="591122"/>
                  <a:pt x="2630996" y="652367"/>
                  <a:pt x="2656809" y="713708"/>
                </a:cubicBezTo>
                <a:cubicBezTo>
                  <a:pt x="2683097" y="774859"/>
                  <a:pt x="2709386" y="836009"/>
                  <a:pt x="2735580" y="897160"/>
                </a:cubicBezTo>
                <a:cubicBezTo>
                  <a:pt x="2762345" y="958120"/>
                  <a:pt x="2789206" y="1018985"/>
                  <a:pt x="2815971" y="1079945"/>
                </a:cubicBezTo>
                <a:cubicBezTo>
                  <a:pt x="2843117" y="1140714"/>
                  <a:pt x="2870549" y="1201388"/>
                  <a:pt x="2898362" y="1261872"/>
                </a:cubicBezTo>
                <a:cubicBezTo>
                  <a:pt x="2926271" y="1322356"/>
                  <a:pt x="2954465" y="1382649"/>
                  <a:pt x="2983135" y="1442752"/>
                </a:cubicBezTo>
                <a:cubicBezTo>
                  <a:pt x="3011900" y="1502855"/>
                  <a:pt x="3041142" y="1562672"/>
                  <a:pt x="3070860" y="1622298"/>
                </a:cubicBezTo>
                <a:cubicBezTo>
                  <a:pt x="3130582" y="1741361"/>
                  <a:pt x="3192494" y="1859566"/>
                  <a:pt x="3258122" y="1975676"/>
                </a:cubicBezTo>
                <a:cubicBezTo>
                  <a:pt x="3290888" y="2033778"/>
                  <a:pt x="3324606" y="2091309"/>
                  <a:pt x="3359468" y="2148269"/>
                </a:cubicBezTo>
                <a:cubicBezTo>
                  <a:pt x="3394234" y="2205228"/>
                  <a:pt x="3430334" y="2261426"/>
                  <a:pt x="3467767" y="2316861"/>
                </a:cubicBezTo>
                <a:cubicBezTo>
                  <a:pt x="3542634" y="2427542"/>
                  <a:pt x="3623120" y="2534888"/>
                  <a:pt x="3712940" y="2634615"/>
                </a:cubicBezTo>
                <a:cubicBezTo>
                  <a:pt x="3757803" y="2684526"/>
                  <a:pt x="3805428" y="2732151"/>
                  <a:pt x="3855911" y="2776633"/>
                </a:cubicBezTo>
                <a:cubicBezTo>
                  <a:pt x="3881057" y="2799112"/>
                  <a:pt x="3907441" y="2820162"/>
                  <a:pt x="3934111" y="2840831"/>
                </a:cubicBezTo>
                <a:cubicBezTo>
                  <a:pt x="3961257" y="2860834"/>
                  <a:pt x="3988784" y="2880646"/>
                  <a:pt x="4017740" y="2898267"/>
                </a:cubicBezTo>
                <a:cubicBezTo>
                  <a:pt x="4075081" y="2934272"/>
                  <a:pt x="4136803" y="2964085"/>
                  <a:pt x="4201573" y="2985611"/>
                </a:cubicBezTo>
                <a:cubicBezTo>
                  <a:pt x="4233958" y="2996374"/>
                  <a:pt x="4267295" y="3004376"/>
                  <a:pt x="4300919" y="3010567"/>
                </a:cubicBezTo>
                <a:cubicBezTo>
                  <a:pt x="4334732" y="3016187"/>
                  <a:pt x="4368832" y="3019235"/>
                  <a:pt x="4403217" y="3020092"/>
                </a:cubicBezTo>
                <a:lnTo>
                  <a:pt x="4403408" y="3020092"/>
                </a:lnTo>
                <a:cubicBezTo>
                  <a:pt x="4461224" y="3020092"/>
                  <a:pt x="4518755" y="3014567"/>
                  <a:pt x="4575334" y="3004280"/>
                </a:cubicBezTo>
                <a:cubicBezTo>
                  <a:pt x="4631912" y="2993993"/>
                  <a:pt x="4687538" y="2978753"/>
                  <a:pt x="4741640" y="2959894"/>
                </a:cubicBezTo>
                <a:cubicBezTo>
                  <a:pt x="4849749" y="2921318"/>
                  <a:pt x="4951857" y="2868454"/>
                  <a:pt x="5048155" y="2807875"/>
                </a:cubicBezTo>
                <a:cubicBezTo>
                  <a:pt x="5144643" y="2747296"/>
                  <a:pt x="5235893" y="2679192"/>
                  <a:pt x="5324094" y="2608040"/>
                </a:cubicBezTo>
                <a:cubicBezTo>
                  <a:pt x="5412201" y="2536698"/>
                  <a:pt x="5497449" y="2462117"/>
                  <a:pt x="5581459" y="2386394"/>
                </a:cubicBezTo>
                <a:cubicBezTo>
                  <a:pt x="5749385" y="2234946"/>
                  <a:pt x="5912835" y="2079308"/>
                  <a:pt x="6083522" y="1932527"/>
                </a:cubicBezTo>
                <a:cubicBezTo>
                  <a:pt x="6254116" y="1786033"/>
                  <a:pt x="6432328" y="1647254"/>
                  <a:pt x="6628162" y="1538478"/>
                </a:cubicBezTo>
                <a:cubicBezTo>
                  <a:pt x="6681597" y="1508951"/>
                  <a:pt x="6736176" y="1481709"/>
                  <a:pt x="6791992" y="1457325"/>
                </a:cubicBezTo>
                <a:cubicBezTo>
                  <a:pt x="6847999" y="1433322"/>
                  <a:pt x="6905149" y="1412367"/>
                  <a:pt x="6963442" y="1395032"/>
                </a:cubicBezTo>
                <a:cubicBezTo>
                  <a:pt x="7079838" y="1359789"/>
                  <a:pt x="7201091" y="1342073"/>
                  <a:pt x="7322344" y="1340930"/>
                </a:cubicBezTo>
                <a:lnTo>
                  <a:pt x="7350824" y="1341501"/>
                </a:lnTo>
                <a:cubicBezTo>
                  <a:pt x="7360253" y="1341882"/>
                  <a:pt x="7372159" y="1341501"/>
                  <a:pt x="7386352" y="1342549"/>
                </a:cubicBezTo>
                <a:lnTo>
                  <a:pt x="7436072" y="1345883"/>
                </a:lnTo>
                <a:lnTo>
                  <a:pt x="7436930" y="1336358"/>
                </a:lnTo>
                <a:lnTo>
                  <a:pt x="7437787" y="1326833"/>
                </a:lnTo>
                <a:lnTo>
                  <a:pt x="7438644" y="1317308"/>
                </a:lnTo>
                <a:lnTo>
                  <a:pt x="7439501" y="1307783"/>
                </a:lnTo>
                <a:lnTo>
                  <a:pt x="7388257" y="1304354"/>
                </a:lnTo>
                <a:cubicBezTo>
                  <a:pt x="7373588" y="1303306"/>
                  <a:pt x="7361397" y="1303592"/>
                  <a:pt x="7351586" y="1303306"/>
                </a:cubicBezTo>
                <a:lnTo>
                  <a:pt x="7322249" y="1302734"/>
                </a:lnTo>
                <a:cubicBezTo>
                  <a:pt x="7197185" y="1303877"/>
                  <a:pt x="7072122" y="1322165"/>
                  <a:pt x="6952679" y="1358456"/>
                </a:cubicBezTo>
                <a:cubicBezTo>
                  <a:pt x="6892862" y="1376267"/>
                  <a:pt x="6834188" y="1397699"/>
                  <a:pt x="6776942" y="1422273"/>
                </a:cubicBezTo>
                <a:cubicBezTo>
                  <a:pt x="6719792" y="1447133"/>
                  <a:pt x="6664071" y="1474946"/>
                  <a:pt x="6609683" y="1505045"/>
                </a:cubicBezTo>
                <a:cubicBezTo>
                  <a:pt x="6410325" y="1615916"/>
                  <a:pt x="6230303" y="1756220"/>
                  <a:pt x="6058758" y="1903571"/>
                </a:cubicBezTo>
                <a:cubicBezTo>
                  <a:pt x="5887117" y="2051209"/>
                  <a:pt x="5723382" y="2207133"/>
                  <a:pt x="5556028" y="2358104"/>
                </a:cubicBezTo>
                <a:cubicBezTo>
                  <a:pt x="5472303" y="2433542"/>
                  <a:pt x="5387531" y="2507647"/>
                  <a:pt x="5300282" y="2578418"/>
                </a:cubicBezTo>
                <a:cubicBezTo>
                  <a:pt x="5212842" y="2648903"/>
                  <a:pt x="5122736" y="2716149"/>
                  <a:pt x="5027962" y="2775585"/>
                </a:cubicBezTo>
                <a:cubicBezTo>
                  <a:pt x="4933379" y="2835212"/>
                  <a:pt x="4833652" y="2886551"/>
                  <a:pt x="4728972" y="2923985"/>
                </a:cubicBezTo>
                <a:cubicBezTo>
                  <a:pt x="4676585" y="2942368"/>
                  <a:pt x="4622959" y="2956941"/>
                  <a:pt x="4568476" y="2966847"/>
                </a:cubicBezTo>
                <a:cubicBezTo>
                  <a:pt x="4514088" y="2976753"/>
                  <a:pt x="4458748" y="2981992"/>
                  <a:pt x="4403694" y="2982087"/>
                </a:cubicBezTo>
                <a:lnTo>
                  <a:pt x="4403503" y="2982087"/>
                </a:lnTo>
                <a:cubicBezTo>
                  <a:pt x="4371404" y="2981325"/>
                  <a:pt x="4339209" y="2978468"/>
                  <a:pt x="4307396" y="2973134"/>
                </a:cubicBezTo>
                <a:cubicBezTo>
                  <a:pt x="4275678" y="2967323"/>
                  <a:pt x="4244150" y="2959703"/>
                  <a:pt x="4213479" y="2949512"/>
                </a:cubicBezTo>
                <a:cubicBezTo>
                  <a:pt x="4152043" y="2929033"/>
                  <a:pt x="4093083" y="2900648"/>
                  <a:pt x="4037838" y="2865978"/>
                </a:cubicBezTo>
                <a:cubicBezTo>
                  <a:pt x="4009930" y="2849023"/>
                  <a:pt x="3983355" y="2829878"/>
                  <a:pt x="3957066" y="2810542"/>
                </a:cubicBezTo>
                <a:cubicBezTo>
                  <a:pt x="3931158" y="2790539"/>
                  <a:pt x="3905536" y="2770061"/>
                  <a:pt x="3881057" y="2748153"/>
                </a:cubicBezTo>
                <a:cubicBezTo>
                  <a:pt x="3831812" y="2704719"/>
                  <a:pt x="3785235" y="2658142"/>
                  <a:pt x="3741134" y="2609183"/>
                </a:cubicBezTo>
                <a:cubicBezTo>
                  <a:pt x="3652933" y="2511266"/>
                  <a:pt x="3573399" y="2405158"/>
                  <a:pt x="3499295" y="2295620"/>
                </a:cubicBezTo>
                <a:cubicBezTo>
                  <a:pt x="3462242" y="2240756"/>
                  <a:pt x="3426524" y="2185035"/>
                  <a:pt x="3391948" y="2128457"/>
                </a:cubicBezTo>
                <a:cubicBezTo>
                  <a:pt x="3357372" y="2071878"/>
                  <a:pt x="3323939" y="2014728"/>
                  <a:pt x="3291364" y="1957007"/>
                </a:cubicBezTo>
                <a:cubicBezTo>
                  <a:pt x="3226118" y="1841564"/>
                  <a:pt x="3164491" y="1723930"/>
                  <a:pt x="3104960" y="1605343"/>
                </a:cubicBezTo>
                <a:cubicBezTo>
                  <a:pt x="3075337" y="1546003"/>
                  <a:pt x="3046190" y="1486281"/>
                  <a:pt x="3017520" y="1426369"/>
                </a:cubicBezTo>
                <a:cubicBezTo>
                  <a:pt x="2988850" y="1366457"/>
                  <a:pt x="2960751" y="1306259"/>
                  <a:pt x="2932938" y="1245965"/>
                </a:cubicBezTo>
                <a:cubicBezTo>
                  <a:pt x="2905220" y="1185672"/>
                  <a:pt x="2877884" y="1125093"/>
                  <a:pt x="2850737" y="1064419"/>
                </a:cubicBezTo>
                <a:cubicBezTo>
                  <a:pt x="2823972" y="1003649"/>
                  <a:pt x="2797207" y="942785"/>
                  <a:pt x="2770442" y="882015"/>
                </a:cubicBezTo>
                <a:lnTo>
                  <a:pt x="2691765" y="698849"/>
                </a:lnTo>
                <a:cubicBezTo>
                  <a:pt x="2665952" y="637604"/>
                  <a:pt x="2640140" y="576358"/>
                  <a:pt x="2614327" y="515112"/>
                </a:cubicBezTo>
                <a:cubicBezTo>
                  <a:pt x="2581370" y="435674"/>
                  <a:pt x="2548414" y="356330"/>
                  <a:pt x="2515457" y="276892"/>
                </a:cubicBezTo>
                <a:cubicBezTo>
                  <a:pt x="2515457" y="276797"/>
                  <a:pt x="2515457" y="276606"/>
                  <a:pt x="2515267" y="276606"/>
                </a:cubicBezTo>
                <a:cubicBezTo>
                  <a:pt x="2462213" y="257651"/>
                  <a:pt x="2409158" y="238601"/>
                  <a:pt x="2356199" y="219647"/>
                </a:cubicBezTo>
                <a:cubicBezTo>
                  <a:pt x="2305622" y="201740"/>
                  <a:pt x="2254853" y="184499"/>
                  <a:pt x="2203704" y="167926"/>
                </a:cubicBezTo>
                <a:cubicBezTo>
                  <a:pt x="2101596" y="134684"/>
                  <a:pt x="1998059" y="105156"/>
                  <a:pt x="1893380" y="80296"/>
                </a:cubicBezTo>
                <a:cubicBezTo>
                  <a:pt x="1788700" y="55436"/>
                  <a:pt x="1682782" y="35338"/>
                  <a:pt x="1575911" y="21527"/>
                </a:cubicBezTo>
                <a:cubicBezTo>
                  <a:pt x="1469327" y="7715"/>
                  <a:pt x="1361503" y="0"/>
                  <a:pt x="1253585" y="0"/>
                </a:cubicBezTo>
                <a:lnTo>
                  <a:pt x="1170718" y="1810"/>
                </a:lnTo>
                <a:cubicBezTo>
                  <a:pt x="1143095" y="3048"/>
                  <a:pt x="1115473" y="5144"/>
                  <a:pt x="1087946" y="6858"/>
                </a:cubicBezTo>
                <a:cubicBezTo>
                  <a:pt x="1032891" y="11716"/>
                  <a:pt x="977837" y="17717"/>
                  <a:pt x="923258" y="27051"/>
                </a:cubicBezTo>
                <a:cubicBezTo>
                  <a:pt x="895826" y="30766"/>
                  <a:pt x="868775" y="36862"/>
                  <a:pt x="841629" y="42386"/>
                </a:cubicBezTo>
                <a:lnTo>
                  <a:pt x="800957" y="50864"/>
                </a:lnTo>
                <a:lnTo>
                  <a:pt x="760762" y="61341"/>
                </a:lnTo>
                <a:cubicBezTo>
                  <a:pt x="733997" y="68390"/>
                  <a:pt x="707041" y="74962"/>
                  <a:pt x="680847" y="84011"/>
                </a:cubicBezTo>
                <a:lnTo>
                  <a:pt x="641223" y="96679"/>
                </a:lnTo>
                <a:lnTo>
                  <a:pt x="621411" y="103061"/>
                </a:lnTo>
                <a:cubicBezTo>
                  <a:pt x="614839" y="105347"/>
                  <a:pt x="608457" y="107918"/>
                  <a:pt x="601980" y="110395"/>
                </a:cubicBezTo>
                <a:lnTo>
                  <a:pt x="560451" y="126302"/>
                </a:lnTo>
                <a:cubicBezTo>
                  <a:pt x="532352" y="135922"/>
                  <a:pt x="492157" y="155067"/>
                  <a:pt x="437960" y="179261"/>
                </a:cubicBezTo>
                <a:lnTo>
                  <a:pt x="349187" y="225552"/>
                </a:lnTo>
                <a:lnTo>
                  <a:pt x="299085" y="255556"/>
                </a:lnTo>
                <a:lnTo>
                  <a:pt x="272225" y="271653"/>
                </a:lnTo>
                <a:lnTo>
                  <a:pt x="258413" y="280035"/>
                </a:lnTo>
                <a:lnTo>
                  <a:pt x="244793" y="289370"/>
                </a:lnTo>
                <a:lnTo>
                  <a:pt x="187452" y="328613"/>
                </a:lnTo>
                <a:lnTo>
                  <a:pt x="172403" y="338900"/>
                </a:lnTo>
                <a:lnTo>
                  <a:pt x="157639" y="350234"/>
                </a:lnTo>
                <a:lnTo>
                  <a:pt x="127445" y="373666"/>
                </a:lnTo>
                <a:cubicBezTo>
                  <a:pt x="85535" y="404336"/>
                  <a:pt x="44768" y="442150"/>
                  <a:pt x="0" y="481013"/>
                </a:cubicBezTo>
                <a:close/>
              </a:path>
            </a:pathLst>
          </a:custGeom>
          <a:gradFill flip="none" rotWithShape="1">
            <a:gsLst>
              <a:gs pos="97000">
                <a:schemeClr val="bg1">
                  <a:alpha val="0"/>
                </a:schemeClr>
              </a:gs>
              <a:gs pos="7000">
                <a:schemeClr val="bg1">
                  <a:alpha val="0"/>
                </a:schemeClr>
              </a:gs>
              <a:gs pos="40000">
                <a:schemeClr val="bg1"/>
              </a:gs>
            </a:gsLst>
            <a:lin ang="0" scaled="1"/>
            <a:tileRect/>
          </a:gradFill>
          <a:ln w="0" cap="flat">
            <a:noFill/>
            <a:prstDash val="solid"/>
            <a:miter/>
          </a:ln>
        </p:spPr>
        <p:txBody>
          <a:bodyPr rtlCol="0" anchor="ctr"/>
          <a:lstStyle/>
          <a:p>
            <a:endParaRPr lang="en-US"/>
          </a:p>
        </p:txBody>
      </p:sp>
    </p:spTree>
    <p:extLst>
      <p:ext uri="{BB962C8B-B14F-4D97-AF65-F5344CB8AC3E}">
        <p14:creationId xmlns:p14="http://schemas.microsoft.com/office/powerpoint/2010/main" val="2977888441"/>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Custom Layout 10_Profi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31EA520-711A-4665-95F6-889AE5BDA347}"/>
              </a:ext>
            </a:extLst>
          </p:cNvPr>
          <p:cNvSpPr/>
          <p:nvPr userDrawn="1"/>
        </p:nvSpPr>
        <p:spPr>
          <a:xfrm>
            <a:off x="0" y="0"/>
            <a:ext cx="12192000" cy="122755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9" name="Title 1">
            <a:extLst>
              <a:ext uri="{FF2B5EF4-FFF2-40B4-BE49-F238E27FC236}">
                <a16:creationId xmlns:a16="http://schemas.microsoft.com/office/drawing/2014/main" id="{7C20DE11-C240-49D3-930E-0692300523B1}"/>
              </a:ext>
            </a:extLst>
          </p:cNvPr>
          <p:cNvSpPr>
            <a:spLocks noGrp="1"/>
          </p:cNvSpPr>
          <p:nvPr>
            <p:ph type="title" hasCustomPrompt="1"/>
            <p:custDataLst>
              <p:tags r:id="rId1"/>
            </p:custDataLst>
          </p:nvPr>
        </p:nvSpPr>
        <p:spPr>
          <a:xfrm>
            <a:off x="2153239" y="388189"/>
            <a:ext cx="8261327" cy="452540"/>
          </a:xfrm>
        </p:spPr>
        <p:txBody>
          <a:bodyPr/>
          <a:lstStyle>
            <a:lvl1pPr>
              <a:defRPr sz="2600">
                <a:solidFill>
                  <a:schemeClr val="accent2"/>
                </a:solidFill>
              </a:defRPr>
            </a:lvl1pPr>
          </a:lstStyle>
          <a:p>
            <a:r>
              <a:rPr lang="en-US" noProof="0"/>
              <a:t>Insert page title (sentence case) </a:t>
            </a:r>
            <a:endParaRPr lang="en-US"/>
          </a:p>
        </p:txBody>
      </p:sp>
      <p:sp>
        <p:nvSpPr>
          <p:cNvPr id="10" name="Espace réservé du texte 4">
            <a:extLst>
              <a:ext uri="{FF2B5EF4-FFF2-40B4-BE49-F238E27FC236}">
                <a16:creationId xmlns:a16="http://schemas.microsoft.com/office/drawing/2014/main" id="{345A5BC6-1F54-47BD-829F-0A8FE31F3967}"/>
              </a:ext>
            </a:extLst>
          </p:cNvPr>
          <p:cNvSpPr>
            <a:spLocks noGrp="1"/>
          </p:cNvSpPr>
          <p:nvPr>
            <p:ph type="body" sz="quarter" idx="11" hasCustomPrompt="1"/>
          </p:nvPr>
        </p:nvSpPr>
        <p:spPr>
          <a:xfrm>
            <a:off x="2153240" y="856113"/>
            <a:ext cx="6962874" cy="347076"/>
          </a:xfrm>
          <a:prstGeom prst="rect">
            <a:avLst/>
          </a:prstGeom>
        </p:spPr>
        <p:txBody>
          <a:bodyPr>
            <a:normAutofit/>
          </a:bodyPr>
          <a:lstStyle>
            <a:lvl1pPr marL="0" indent="0">
              <a:buNone/>
              <a:defRPr sz="1600">
                <a:solidFill>
                  <a:schemeClr val="bg1"/>
                </a:solidFill>
              </a:defRPr>
            </a:lvl1pPr>
          </a:lstStyle>
          <a:p>
            <a:pPr lvl="0"/>
            <a:r>
              <a:rPr lang="en-US"/>
              <a:t>Click to edit Master subtitle styles</a:t>
            </a:r>
          </a:p>
        </p:txBody>
      </p:sp>
      <p:sp>
        <p:nvSpPr>
          <p:cNvPr id="3" name="Picture Placeholder 2">
            <a:extLst>
              <a:ext uri="{FF2B5EF4-FFF2-40B4-BE49-F238E27FC236}">
                <a16:creationId xmlns:a16="http://schemas.microsoft.com/office/drawing/2014/main" id="{88756162-FD6B-47FC-98BD-7E7284F5D0C4}"/>
              </a:ext>
            </a:extLst>
          </p:cNvPr>
          <p:cNvSpPr>
            <a:spLocks noGrp="1"/>
          </p:cNvSpPr>
          <p:nvPr>
            <p:ph type="pic" sz="quarter" idx="16"/>
          </p:nvPr>
        </p:nvSpPr>
        <p:spPr>
          <a:xfrm>
            <a:off x="412035" y="378768"/>
            <a:ext cx="1499073" cy="1503042"/>
          </a:xfrm>
          <a:solidFill>
            <a:schemeClr val="bg2"/>
          </a:solidFill>
          <a:ln>
            <a:noFill/>
          </a:ln>
        </p:spPr>
        <p:txBody>
          <a:bodyPr anchor="ctr"/>
          <a:lstStyle>
            <a:lvl1pPr algn="ctr">
              <a:defRPr/>
            </a:lvl1pPr>
          </a:lstStyle>
          <a:p>
            <a:endParaRPr lang="en-US"/>
          </a:p>
        </p:txBody>
      </p:sp>
      <p:grpSp>
        <p:nvGrpSpPr>
          <p:cNvPr id="2" name="Groupe 1">
            <a:extLst>
              <a:ext uri="{FF2B5EF4-FFF2-40B4-BE49-F238E27FC236}">
                <a16:creationId xmlns:a16="http://schemas.microsoft.com/office/drawing/2014/main" id="{39516667-2D22-F7AD-9DBE-E94C3A1650B2}"/>
              </a:ext>
            </a:extLst>
          </p:cNvPr>
          <p:cNvGrpSpPr/>
          <p:nvPr userDrawn="1"/>
        </p:nvGrpSpPr>
        <p:grpSpPr>
          <a:xfrm>
            <a:off x="11501102" y="171573"/>
            <a:ext cx="419436" cy="388988"/>
            <a:chOff x="11501102" y="171573"/>
            <a:chExt cx="419436" cy="388988"/>
          </a:xfrm>
        </p:grpSpPr>
        <p:sp>
          <p:nvSpPr>
            <p:cNvPr id="4" name="Freeform 13">
              <a:extLst>
                <a:ext uri="{FF2B5EF4-FFF2-40B4-BE49-F238E27FC236}">
                  <a16:creationId xmlns:a16="http://schemas.microsoft.com/office/drawing/2014/main" id="{8D2761E9-9BF8-7504-BCCC-637C8D470F04}"/>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a:extLst>
                <a:ext uri="{FF2B5EF4-FFF2-40B4-BE49-F238E27FC236}">
                  <a16:creationId xmlns:a16="http://schemas.microsoft.com/office/drawing/2014/main" id="{29C4CC84-A000-AE9F-6D1B-E0F6641E802B}"/>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39035246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Custom Layout 10_Profile">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8866C7-CA7A-F105-966A-AC42CCCA2FB8}"/>
              </a:ext>
            </a:extLst>
          </p:cNvPr>
          <p:cNvSpPr/>
          <p:nvPr userDrawn="1"/>
        </p:nvSpPr>
        <p:spPr>
          <a:xfrm>
            <a:off x="1" y="-1210"/>
            <a:ext cx="6096000" cy="6859210"/>
          </a:xfrm>
          <a:prstGeom prst="rect">
            <a:avLst/>
          </a:prstGeom>
          <a:solidFill>
            <a:schemeClr val="bg1"/>
          </a:solidFill>
          <a:ln>
            <a:noFill/>
          </a:ln>
          <a:effectLst>
            <a:outerShdw blurRad="292100" dist="50800" algn="ctr" rotWithShape="0">
              <a:srgbClr val="000000">
                <a:alpha val="14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solidFill>
                <a:schemeClr val="tx1"/>
              </a:solidFill>
            </a:endParaRPr>
          </a:p>
        </p:txBody>
      </p:sp>
      <p:sp>
        <p:nvSpPr>
          <p:cNvPr id="8" name="Rectangle 7">
            <a:extLst>
              <a:ext uri="{FF2B5EF4-FFF2-40B4-BE49-F238E27FC236}">
                <a16:creationId xmlns:a16="http://schemas.microsoft.com/office/drawing/2014/main" id="{D31EA520-711A-4665-95F6-889AE5BDA347}"/>
              </a:ext>
            </a:extLst>
          </p:cNvPr>
          <p:cNvSpPr/>
          <p:nvPr userDrawn="1"/>
        </p:nvSpPr>
        <p:spPr>
          <a:xfrm>
            <a:off x="0" y="0"/>
            <a:ext cx="12192000" cy="122755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9" name="Title 1">
            <a:extLst>
              <a:ext uri="{FF2B5EF4-FFF2-40B4-BE49-F238E27FC236}">
                <a16:creationId xmlns:a16="http://schemas.microsoft.com/office/drawing/2014/main" id="{7C20DE11-C240-49D3-930E-0692300523B1}"/>
              </a:ext>
            </a:extLst>
          </p:cNvPr>
          <p:cNvSpPr>
            <a:spLocks noGrp="1"/>
          </p:cNvSpPr>
          <p:nvPr>
            <p:ph type="title" hasCustomPrompt="1"/>
            <p:custDataLst>
              <p:tags r:id="rId1"/>
            </p:custDataLst>
          </p:nvPr>
        </p:nvSpPr>
        <p:spPr>
          <a:xfrm>
            <a:off x="2153239" y="388189"/>
            <a:ext cx="8261327" cy="452540"/>
          </a:xfrm>
        </p:spPr>
        <p:txBody>
          <a:bodyPr/>
          <a:lstStyle>
            <a:lvl1pPr>
              <a:defRPr sz="2600">
                <a:solidFill>
                  <a:schemeClr val="accent2"/>
                </a:solidFill>
              </a:defRPr>
            </a:lvl1pPr>
          </a:lstStyle>
          <a:p>
            <a:r>
              <a:rPr lang="en-US" noProof="0"/>
              <a:t>Insert page title (sentence case) </a:t>
            </a:r>
            <a:endParaRPr lang="en-US"/>
          </a:p>
        </p:txBody>
      </p:sp>
      <p:sp>
        <p:nvSpPr>
          <p:cNvPr id="10" name="Espace réservé du texte 4">
            <a:extLst>
              <a:ext uri="{FF2B5EF4-FFF2-40B4-BE49-F238E27FC236}">
                <a16:creationId xmlns:a16="http://schemas.microsoft.com/office/drawing/2014/main" id="{345A5BC6-1F54-47BD-829F-0A8FE31F3967}"/>
              </a:ext>
            </a:extLst>
          </p:cNvPr>
          <p:cNvSpPr>
            <a:spLocks noGrp="1"/>
          </p:cNvSpPr>
          <p:nvPr>
            <p:ph type="body" sz="quarter" idx="11" hasCustomPrompt="1"/>
          </p:nvPr>
        </p:nvSpPr>
        <p:spPr>
          <a:xfrm>
            <a:off x="2153240" y="856113"/>
            <a:ext cx="6962874" cy="347076"/>
          </a:xfrm>
          <a:prstGeom prst="rect">
            <a:avLst/>
          </a:prstGeom>
        </p:spPr>
        <p:txBody>
          <a:bodyPr>
            <a:normAutofit/>
          </a:bodyPr>
          <a:lstStyle>
            <a:lvl1pPr marL="0" indent="0">
              <a:buNone/>
              <a:defRPr sz="1600">
                <a:solidFill>
                  <a:schemeClr val="bg1"/>
                </a:solidFill>
              </a:defRPr>
            </a:lvl1pPr>
          </a:lstStyle>
          <a:p>
            <a:pPr lvl="0"/>
            <a:r>
              <a:rPr lang="en-US"/>
              <a:t>Click to edit Master subtitle styles</a:t>
            </a:r>
          </a:p>
        </p:txBody>
      </p:sp>
      <p:sp>
        <p:nvSpPr>
          <p:cNvPr id="3" name="Picture Placeholder 2">
            <a:extLst>
              <a:ext uri="{FF2B5EF4-FFF2-40B4-BE49-F238E27FC236}">
                <a16:creationId xmlns:a16="http://schemas.microsoft.com/office/drawing/2014/main" id="{88756162-FD6B-47FC-98BD-7E7284F5D0C4}"/>
              </a:ext>
            </a:extLst>
          </p:cNvPr>
          <p:cNvSpPr>
            <a:spLocks noGrp="1"/>
          </p:cNvSpPr>
          <p:nvPr>
            <p:ph type="pic" sz="quarter" idx="16"/>
          </p:nvPr>
        </p:nvSpPr>
        <p:spPr>
          <a:xfrm>
            <a:off x="412035" y="378768"/>
            <a:ext cx="1499073" cy="1503042"/>
          </a:xfrm>
          <a:solidFill>
            <a:schemeClr val="bg2"/>
          </a:solidFill>
          <a:ln>
            <a:noFill/>
          </a:ln>
        </p:spPr>
        <p:txBody>
          <a:bodyPr anchor="ctr"/>
          <a:lstStyle>
            <a:lvl1pPr algn="ctr">
              <a:defRPr/>
            </a:lvl1pPr>
          </a:lstStyle>
          <a:p>
            <a:endParaRPr lang="en-US"/>
          </a:p>
        </p:txBody>
      </p:sp>
      <p:grpSp>
        <p:nvGrpSpPr>
          <p:cNvPr id="4" name="Groupe 1">
            <a:extLst>
              <a:ext uri="{FF2B5EF4-FFF2-40B4-BE49-F238E27FC236}">
                <a16:creationId xmlns:a16="http://schemas.microsoft.com/office/drawing/2014/main" id="{51908B44-1E45-7560-2BBA-568B2CB20357}"/>
              </a:ext>
            </a:extLst>
          </p:cNvPr>
          <p:cNvGrpSpPr/>
          <p:nvPr userDrawn="1"/>
        </p:nvGrpSpPr>
        <p:grpSpPr>
          <a:xfrm>
            <a:off x="11501102" y="171573"/>
            <a:ext cx="419436" cy="388988"/>
            <a:chOff x="11501102" y="171573"/>
            <a:chExt cx="419436" cy="388988"/>
          </a:xfrm>
        </p:grpSpPr>
        <p:sp>
          <p:nvSpPr>
            <p:cNvPr id="5" name="Freeform 13">
              <a:extLst>
                <a:ext uri="{FF2B5EF4-FFF2-40B4-BE49-F238E27FC236}">
                  <a16:creationId xmlns:a16="http://schemas.microsoft.com/office/drawing/2014/main" id="{E9722431-5176-ADBA-55BD-76B7889C5F7D}"/>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 name="Freeform 14">
              <a:extLst>
                <a:ext uri="{FF2B5EF4-FFF2-40B4-BE49-F238E27FC236}">
                  <a16:creationId xmlns:a16="http://schemas.microsoft.com/office/drawing/2014/main" id="{3B5C6DA1-D445-967C-EA36-A7A8CD7FF075}"/>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ctangle 27">
            <a:extLst>
              <a:ext uri="{FF2B5EF4-FFF2-40B4-BE49-F238E27FC236}">
                <a16:creationId xmlns:a16="http://schemas.microsoft.com/office/drawing/2014/main" id="{FAEB2C0B-3505-8972-8FAB-41B395484DDF}"/>
              </a:ext>
            </a:extLst>
          </p:cNvPr>
          <p:cNvSpPr/>
          <p:nvPr userDrawn="1"/>
        </p:nvSpPr>
        <p:spPr>
          <a:xfrm>
            <a:off x="40683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chemeClr val="bg1">
                    <a:lumMod val="65000"/>
                  </a:schemeClr>
                </a:solidFill>
                <a:latin typeface="+mn-lt"/>
                <a:cs typeface="Arial" panose="020B0604020202020204" pitchFamily="34" charset="0"/>
              </a:rPr>
              <a:t>Presentation Title  |  Author  |  Date</a:t>
            </a:r>
          </a:p>
        </p:txBody>
      </p:sp>
      <p:sp>
        <p:nvSpPr>
          <p:cNvPr id="19" name="Rectangle 43">
            <a:extLst>
              <a:ext uri="{FF2B5EF4-FFF2-40B4-BE49-F238E27FC236}">
                <a16:creationId xmlns:a16="http://schemas.microsoft.com/office/drawing/2014/main" id="{F80F8D37-140A-815F-BE65-054D8934708C}"/>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63567699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Custom Layout 10_Profi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31EA520-711A-4665-95F6-889AE5BDA347}"/>
              </a:ext>
            </a:extLst>
          </p:cNvPr>
          <p:cNvSpPr/>
          <p:nvPr userDrawn="1"/>
        </p:nvSpPr>
        <p:spPr>
          <a:xfrm>
            <a:off x="0" y="0"/>
            <a:ext cx="12192000" cy="122755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Title 1">
            <a:extLst>
              <a:ext uri="{FF2B5EF4-FFF2-40B4-BE49-F238E27FC236}">
                <a16:creationId xmlns:a16="http://schemas.microsoft.com/office/drawing/2014/main" id="{7C20DE11-C240-49D3-930E-0692300523B1}"/>
              </a:ext>
            </a:extLst>
          </p:cNvPr>
          <p:cNvSpPr>
            <a:spLocks noGrp="1"/>
          </p:cNvSpPr>
          <p:nvPr>
            <p:ph type="title" hasCustomPrompt="1"/>
            <p:custDataLst>
              <p:tags r:id="rId1"/>
            </p:custDataLst>
          </p:nvPr>
        </p:nvSpPr>
        <p:spPr>
          <a:xfrm>
            <a:off x="2240496" y="388189"/>
            <a:ext cx="8261327" cy="452540"/>
          </a:xfrm>
        </p:spPr>
        <p:txBody>
          <a:bodyPr/>
          <a:lstStyle>
            <a:lvl1pPr>
              <a:defRPr sz="2600">
                <a:solidFill>
                  <a:schemeClr val="accent2"/>
                </a:solidFill>
              </a:defRPr>
            </a:lvl1pPr>
          </a:lstStyle>
          <a:p>
            <a:r>
              <a:rPr lang="en-US" noProof="0"/>
              <a:t>Click to edit Master title style</a:t>
            </a:r>
            <a:endParaRPr lang="en-US"/>
          </a:p>
        </p:txBody>
      </p:sp>
      <p:sp>
        <p:nvSpPr>
          <p:cNvPr id="10" name="Espace réservé du texte 4">
            <a:extLst>
              <a:ext uri="{FF2B5EF4-FFF2-40B4-BE49-F238E27FC236}">
                <a16:creationId xmlns:a16="http://schemas.microsoft.com/office/drawing/2014/main" id="{345A5BC6-1F54-47BD-829F-0A8FE31F3967}"/>
              </a:ext>
            </a:extLst>
          </p:cNvPr>
          <p:cNvSpPr>
            <a:spLocks noGrp="1"/>
          </p:cNvSpPr>
          <p:nvPr>
            <p:ph type="body" sz="quarter" idx="11" hasCustomPrompt="1"/>
          </p:nvPr>
        </p:nvSpPr>
        <p:spPr>
          <a:xfrm>
            <a:off x="2240497" y="856113"/>
            <a:ext cx="6962874" cy="347076"/>
          </a:xfrm>
          <a:prstGeom prst="rect">
            <a:avLst/>
          </a:prstGeom>
        </p:spPr>
        <p:txBody>
          <a:bodyPr>
            <a:normAutofit/>
          </a:bodyPr>
          <a:lstStyle>
            <a:lvl1pPr marL="0" indent="0">
              <a:buNone/>
              <a:defRPr sz="1800">
                <a:solidFill>
                  <a:schemeClr val="bg1"/>
                </a:solidFill>
              </a:defRPr>
            </a:lvl1pPr>
          </a:lstStyle>
          <a:p>
            <a:pPr lvl="0"/>
            <a:r>
              <a:rPr lang="en-US"/>
              <a:t>Click to edit Master subtitle styles</a:t>
            </a:r>
          </a:p>
        </p:txBody>
      </p:sp>
      <p:sp>
        <p:nvSpPr>
          <p:cNvPr id="3" name="Picture Placeholder 2">
            <a:extLst>
              <a:ext uri="{FF2B5EF4-FFF2-40B4-BE49-F238E27FC236}">
                <a16:creationId xmlns:a16="http://schemas.microsoft.com/office/drawing/2014/main" id="{88756162-FD6B-47FC-98BD-7E7284F5D0C4}"/>
              </a:ext>
            </a:extLst>
          </p:cNvPr>
          <p:cNvSpPr>
            <a:spLocks noGrp="1"/>
          </p:cNvSpPr>
          <p:nvPr>
            <p:ph type="pic" sz="quarter" idx="16"/>
          </p:nvPr>
        </p:nvSpPr>
        <p:spPr>
          <a:xfrm>
            <a:off x="412035" y="378767"/>
            <a:ext cx="1751012" cy="1755648"/>
          </a:xfrm>
          <a:solidFill>
            <a:schemeClr val="bg2"/>
          </a:solidFill>
          <a:ln>
            <a:noFill/>
          </a:ln>
        </p:spPr>
        <p:txBody>
          <a:bodyPr anchor="ctr"/>
          <a:lstStyle>
            <a:lvl1pPr algn="ctr">
              <a:defRPr/>
            </a:lvl1pPr>
          </a:lstStyle>
          <a:p>
            <a:endParaRPr lang="en-US"/>
          </a:p>
        </p:txBody>
      </p:sp>
      <p:grpSp>
        <p:nvGrpSpPr>
          <p:cNvPr id="19" name="Graphic 9">
            <a:extLst>
              <a:ext uri="{FF2B5EF4-FFF2-40B4-BE49-F238E27FC236}">
                <a16:creationId xmlns:a16="http://schemas.microsoft.com/office/drawing/2014/main" id="{65179545-3B49-482E-BC5E-3C3218B623C4}"/>
              </a:ext>
            </a:extLst>
          </p:cNvPr>
          <p:cNvGrpSpPr/>
          <p:nvPr userDrawn="1"/>
        </p:nvGrpSpPr>
        <p:grpSpPr>
          <a:xfrm>
            <a:off x="10518890" y="304341"/>
            <a:ext cx="1454502" cy="324134"/>
            <a:chOff x="420863" y="5948708"/>
            <a:chExt cx="2992497" cy="666874"/>
          </a:xfrm>
        </p:grpSpPr>
        <p:sp>
          <p:nvSpPr>
            <p:cNvPr id="20" name="Freeform: Shape 19">
              <a:extLst>
                <a:ext uri="{FF2B5EF4-FFF2-40B4-BE49-F238E27FC236}">
                  <a16:creationId xmlns:a16="http://schemas.microsoft.com/office/drawing/2014/main" id="{66B8C554-05AE-41CA-98C9-68202AB3D104}"/>
                </a:ext>
              </a:extLst>
            </p:cNvPr>
            <p:cNvSpPr/>
            <p:nvPr/>
          </p:nvSpPr>
          <p:spPr>
            <a:xfrm>
              <a:off x="3067778" y="6148966"/>
              <a:ext cx="345582" cy="281692"/>
            </a:xfrm>
            <a:custGeom>
              <a:avLst/>
              <a:gdLst>
                <a:gd name="connsiteX0" fmla="*/ 228628 w 345582"/>
                <a:gd name="connsiteY0" fmla="*/ 195891 h 281692"/>
                <a:gd name="connsiteX1" fmla="*/ 345583 w 345582"/>
                <a:gd name="connsiteY1" fmla="*/ 78937 h 281692"/>
                <a:gd name="connsiteX2" fmla="*/ 259517 w 345582"/>
                <a:gd name="connsiteY2" fmla="*/ 0 h 281692"/>
                <a:gd name="connsiteX3" fmla="*/ 90818 w 345582"/>
                <a:gd name="connsiteY3" fmla="*/ 180579 h 281692"/>
                <a:gd name="connsiteX4" fmla="*/ 0 w 345582"/>
                <a:gd name="connsiteY4" fmla="*/ 262948 h 281692"/>
                <a:gd name="connsiteX5" fmla="*/ 68641 w 345582"/>
                <a:gd name="connsiteY5" fmla="*/ 281692 h 281692"/>
                <a:gd name="connsiteX6" fmla="*/ 229684 w 345582"/>
                <a:gd name="connsiteY6" fmla="*/ 229155 h 281692"/>
                <a:gd name="connsiteX7" fmla="*/ 148107 w 345582"/>
                <a:gd name="connsiteY7" fmla="*/ 156290 h 281692"/>
                <a:gd name="connsiteX8" fmla="*/ 228628 w 345582"/>
                <a:gd name="connsiteY8" fmla="*/ 195891 h 281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82" h="281692">
                  <a:moveTo>
                    <a:pt x="228628" y="195891"/>
                  </a:moveTo>
                  <a:cubicBezTo>
                    <a:pt x="294102" y="195891"/>
                    <a:pt x="344791" y="142562"/>
                    <a:pt x="345583" y="78937"/>
                  </a:cubicBezTo>
                  <a:cubicBezTo>
                    <a:pt x="341095" y="51217"/>
                    <a:pt x="331326" y="0"/>
                    <a:pt x="259517" y="0"/>
                  </a:cubicBezTo>
                  <a:cubicBezTo>
                    <a:pt x="181107" y="0"/>
                    <a:pt x="154971" y="109826"/>
                    <a:pt x="90818" y="180579"/>
                  </a:cubicBezTo>
                  <a:cubicBezTo>
                    <a:pt x="85538" y="220971"/>
                    <a:pt x="47521" y="256876"/>
                    <a:pt x="0" y="262948"/>
                  </a:cubicBezTo>
                  <a:cubicBezTo>
                    <a:pt x="11616" y="275092"/>
                    <a:pt x="37489" y="281692"/>
                    <a:pt x="68641" y="281692"/>
                  </a:cubicBezTo>
                  <a:cubicBezTo>
                    <a:pt x="125138" y="281692"/>
                    <a:pt x="193780" y="264532"/>
                    <a:pt x="229684" y="229155"/>
                  </a:cubicBezTo>
                  <a:cubicBezTo>
                    <a:pt x="181900" y="229683"/>
                    <a:pt x="151011" y="199059"/>
                    <a:pt x="148107" y="156290"/>
                  </a:cubicBezTo>
                  <a:cubicBezTo>
                    <a:pt x="171339" y="184803"/>
                    <a:pt x="197740" y="195891"/>
                    <a:pt x="228628" y="195891"/>
                  </a:cubicBezTo>
                  <a:close/>
                </a:path>
              </a:pathLst>
            </a:custGeom>
            <a:solidFill>
              <a:srgbClr val="00B0E3"/>
            </a:solidFill>
            <a:ln w="2637" cap="flat">
              <a:noFill/>
              <a:prstDash val="solid"/>
              <a:miter/>
            </a:ln>
          </p:spPr>
          <p:txBody>
            <a:bodyPr rtlCol="0" anchor="ctr"/>
            <a:lstStyle/>
            <a:p>
              <a:endParaRPr lang="en-US"/>
            </a:p>
          </p:txBody>
        </p:sp>
        <p:grpSp>
          <p:nvGrpSpPr>
            <p:cNvPr id="21" name="Graphic 9">
              <a:extLst>
                <a:ext uri="{FF2B5EF4-FFF2-40B4-BE49-F238E27FC236}">
                  <a16:creationId xmlns:a16="http://schemas.microsoft.com/office/drawing/2014/main" id="{25CD8E6A-52D6-4076-A092-7EF2D6E87402}"/>
                </a:ext>
              </a:extLst>
            </p:cNvPr>
            <p:cNvGrpSpPr/>
            <p:nvPr/>
          </p:nvGrpSpPr>
          <p:grpSpPr>
            <a:xfrm>
              <a:off x="420863" y="5948708"/>
              <a:ext cx="2992497" cy="666874"/>
              <a:chOff x="420863" y="5948708"/>
              <a:chExt cx="2992497" cy="666874"/>
            </a:xfrm>
            <a:solidFill>
              <a:srgbClr val="0075B3"/>
            </a:solidFill>
          </p:grpSpPr>
          <p:sp>
            <p:nvSpPr>
              <p:cNvPr id="22" name="Freeform: Shape 21">
                <a:extLst>
                  <a:ext uri="{FF2B5EF4-FFF2-40B4-BE49-F238E27FC236}">
                    <a16:creationId xmlns:a16="http://schemas.microsoft.com/office/drawing/2014/main" id="{7A71FF0E-C75D-415D-86D5-8C53CD473B9B}"/>
                  </a:ext>
                </a:extLst>
              </p:cNvPr>
              <p:cNvSpPr/>
              <p:nvPr/>
            </p:nvSpPr>
            <p:spPr>
              <a:xfrm>
                <a:off x="420863" y="5957155"/>
                <a:ext cx="2432279" cy="658426"/>
              </a:xfrm>
              <a:custGeom>
                <a:avLst/>
                <a:gdLst>
                  <a:gd name="connsiteX0" fmla="*/ 2371558 w 2432279"/>
                  <a:gd name="connsiteY0" fmla="*/ 216220 h 658426"/>
                  <a:gd name="connsiteX1" fmla="*/ 2346742 w 2432279"/>
                  <a:gd name="connsiteY1" fmla="*/ 158139 h 658426"/>
                  <a:gd name="connsiteX2" fmla="*/ 2322189 w 2432279"/>
                  <a:gd name="connsiteY2" fmla="*/ 163155 h 658426"/>
                  <a:gd name="connsiteX3" fmla="*/ 2271236 w 2432279"/>
                  <a:gd name="connsiteY3" fmla="*/ 384918 h 658426"/>
                  <a:gd name="connsiteX4" fmla="*/ 2159562 w 2432279"/>
                  <a:gd name="connsiteY4" fmla="*/ 132266 h 658426"/>
                  <a:gd name="connsiteX5" fmla="*/ 2055016 w 2432279"/>
                  <a:gd name="connsiteY5" fmla="*/ 333966 h 658426"/>
                  <a:gd name="connsiteX6" fmla="*/ 2047888 w 2432279"/>
                  <a:gd name="connsiteY6" fmla="*/ 240772 h 658426"/>
                  <a:gd name="connsiteX7" fmla="*/ 2053168 w 2432279"/>
                  <a:gd name="connsiteY7" fmla="*/ 190875 h 658426"/>
                  <a:gd name="connsiteX8" fmla="*/ 2003007 w 2432279"/>
                  <a:gd name="connsiteY8" fmla="*/ 155763 h 658426"/>
                  <a:gd name="connsiteX9" fmla="*/ 1943078 w 2432279"/>
                  <a:gd name="connsiteY9" fmla="*/ 387030 h 658426"/>
                  <a:gd name="connsiteX10" fmla="*/ 1894765 w 2432279"/>
                  <a:gd name="connsiteY10" fmla="*/ 220180 h 658426"/>
                  <a:gd name="connsiteX11" fmla="*/ 1845132 w 2432279"/>
                  <a:gd name="connsiteY11" fmla="*/ 154707 h 658426"/>
                  <a:gd name="connsiteX12" fmla="*/ 1783619 w 2432279"/>
                  <a:gd name="connsiteY12" fmla="*/ 375414 h 658426"/>
                  <a:gd name="connsiteX13" fmla="*/ 1691745 w 2432279"/>
                  <a:gd name="connsiteY13" fmla="*/ 158139 h 658426"/>
                  <a:gd name="connsiteX14" fmla="*/ 1600399 w 2432279"/>
                  <a:gd name="connsiteY14" fmla="*/ 364062 h 658426"/>
                  <a:gd name="connsiteX15" fmla="*/ 1520406 w 2432279"/>
                  <a:gd name="connsiteY15" fmla="*/ 132266 h 658426"/>
                  <a:gd name="connsiteX16" fmla="*/ 1438828 w 2432279"/>
                  <a:gd name="connsiteY16" fmla="*/ 296213 h 658426"/>
                  <a:gd name="connsiteX17" fmla="*/ 1431172 w 2432279"/>
                  <a:gd name="connsiteY17" fmla="*/ 294629 h 658426"/>
                  <a:gd name="connsiteX18" fmla="*/ 1430644 w 2432279"/>
                  <a:gd name="connsiteY18" fmla="*/ 246052 h 658426"/>
                  <a:gd name="connsiteX19" fmla="*/ 1385499 w 2432279"/>
                  <a:gd name="connsiteY19" fmla="*/ 149955 h 658426"/>
                  <a:gd name="connsiteX20" fmla="*/ 1268281 w 2432279"/>
                  <a:gd name="connsiteY20" fmla="*/ 389142 h 658426"/>
                  <a:gd name="connsiteX21" fmla="*/ 1219704 w 2432279"/>
                  <a:gd name="connsiteY21" fmla="*/ 366702 h 658426"/>
                  <a:gd name="connsiteX22" fmla="*/ 1317650 w 2432279"/>
                  <a:gd name="connsiteY22" fmla="*/ 230740 h 658426"/>
                  <a:gd name="connsiteX23" fmla="*/ 1240296 w 2432279"/>
                  <a:gd name="connsiteY23" fmla="*/ 151011 h 658426"/>
                  <a:gd name="connsiteX24" fmla="*/ 1135486 w 2432279"/>
                  <a:gd name="connsiteY24" fmla="*/ 279317 h 658426"/>
                  <a:gd name="connsiteX25" fmla="*/ 1151062 w 2432279"/>
                  <a:gd name="connsiteY25" fmla="*/ 360102 h 658426"/>
                  <a:gd name="connsiteX26" fmla="*/ 1085853 w 2432279"/>
                  <a:gd name="connsiteY26" fmla="*/ 389934 h 658426"/>
                  <a:gd name="connsiteX27" fmla="*/ 1072125 w 2432279"/>
                  <a:gd name="connsiteY27" fmla="*/ 206980 h 658426"/>
                  <a:gd name="connsiteX28" fmla="*/ 1023020 w 2432279"/>
                  <a:gd name="connsiteY28" fmla="*/ 246316 h 658426"/>
                  <a:gd name="connsiteX29" fmla="*/ 965995 w 2432279"/>
                  <a:gd name="connsiteY29" fmla="*/ 364326 h 658426"/>
                  <a:gd name="connsiteX30" fmla="*/ 935898 w 2432279"/>
                  <a:gd name="connsiteY30" fmla="*/ 319181 h 658426"/>
                  <a:gd name="connsiteX31" fmla="*/ 1073445 w 2432279"/>
                  <a:gd name="connsiteY31" fmla="*/ 186915 h 658426"/>
                  <a:gd name="connsiteX32" fmla="*/ 1027772 w 2432279"/>
                  <a:gd name="connsiteY32" fmla="*/ 142827 h 658426"/>
                  <a:gd name="connsiteX33" fmla="*/ 903426 w 2432279"/>
                  <a:gd name="connsiteY33" fmla="*/ 218068 h 658426"/>
                  <a:gd name="connsiteX34" fmla="*/ 830296 w 2432279"/>
                  <a:gd name="connsiteY34" fmla="*/ 290405 h 658426"/>
                  <a:gd name="connsiteX35" fmla="*/ 831352 w 2432279"/>
                  <a:gd name="connsiteY35" fmla="*/ 269549 h 658426"/>
                  <a:gd name="connsiteX36" fmla="*/ 744230 w 2432279"/>
                  <a:gd name="connsiteY36" fmla="*/ 151275 h 658426"/>
                  <a:gd name="connsiteX37" fmla="*/ 674005 w 2432279"/>
                  <a:gd name="connsiteY37" fmla="*/ 204868 h 658426"/>
                  <a:gd name="connsiteX38" fmla="*/ 645493 w 2432279"/>
                  <a:gd name="connsiteY38" fmla="*/ 158403 h 658426"/>
                  <a:gd name="connsiteX39" fmla="*/ 614076 w 2432279"/>
                  <a:gd name="connsiteY39" fmla="*/ 166587 h 658426"/>
                  <a:gd name="connsiteX40" fmla="*/ 621732 w 2432279"/>
                  <a:gd name="connsiteY40" fmla="*/ 251332 h 658426"/>
                  <a:gd name="connsiteX41" fmla="*/ 566027 w 2432279"/>
                  <a:gd name="connsiteY41" fmla="*/ 394422 h 658426"/>
                  <a:gd name="connsiteX42" fmla="*/ 527218 w 2432279"/>
                  <a:gd name="connsiteY42" fmla="*/ 231532 h 658426"/>
                  <a:gd name="connsiteX43" fmla="*/ 511906 w 2432279"/>
                  <a:gd name="connsiteY43" fmla="*/ 228628 h 658426"/>
                  <a:gd name="connsiteX44" fmla="*/ 473097 w 2432279"/>
                  <a:gd name="connsiteY44" fmla="*/ 301229 h 658426"/>
                  <a:gd name="connsiteX45" fmla="*/ 410264 w 2432279"/>
                  <a:gd name="connsiteY45" fmla="*/ 388350 h 658426"/>
                  <a:gd name="connsiteX46" fmla="*/ 376471 w 2432279"/>
                  <a:gd name="connsiteY46" fmla="*/ 334758 h 658426"/>
                  <a:gd name="connsiteX47" fmla="*/ 522466 w 2432279"/>
                  <a:gd name="connsiteY47" fmla="*/ 207772 h 658426"/>
                  <a:gd name="connsiteX48" fmla="*/ 477849 w 2432279"/>
                  <a:gd name="connsiteY48" fmla="*/ 158667 h 658426"/>
                  <a:gd name="connsiteX49" fmla="*/ 332382 w 2432279"/>
                  <a:gd name="connsiteY49" fmla="*/ 267437 h 658426"/>
                  <a:gd name="connsiteX50" fmla="*/ 178731 w 2432279"/>
                  <a:gd name="connsiteY50" fmla="*/ 400759 h 658426"/>
                  <a:gd name="connsiteX51" fmla="*/ 70753 w 2432279"/>
                  <a:gd name="connsiteY51" fmla="*/ 235228 h 658426"/>
                  <a:gd name="connsiteX52" fmla="*/ 196684 w 2432279"/>
                  <a:gd name="connsiteY52" fmla="*/ 46993 h 658426"/>
                  <a:gd name="connsiteX53" fmla="*/ 248693 w 2432279"/>
                  <a:gd name="connsiteY53" fmla="*/ 133587 h 658426"/>
                  <a:gd name="connsiteX54" fmla="*/ 310734 w 2432279"/>
                  <a:gd name="connsiteY54" fmla="*/ 87650 h 658426"/>
                  <a:gd name="connsiteX55" fmla="*/ 199060 w 2432279"/>
                  <a:gd name="connsiteY55" fmla="*/ 0 h 658426"/>
                  <a:gd name="connsiteX56" fmla="*/ 0 w 2432279"/>
                  <a:gd name="connsiteY56" fmla="*/ 243412 h 658426"/>
                  <a:gd name="connsiteX57" fmla="*/ 164211 w 2432279"/>
                  <a:gd name="connsiteY57" fmla="*/ 456463 h 658426"/>
                  <a:gd name="connsiteX58" fmla="*/ 321822 w 2432279"/>
                  <a:gd name="connsiteY58" fmla="*/ 357990 h 658426"/>
                  <a:gd name="connsiteX59" fmla="*/ 398384 w 2432279"/>
                  <a:gd name="connsiteY59" fmla="*/ 437455 h 658426"/>
                  <a:gd name="connsiteX60" fmla="*/ 491314 w 2432279"/>
                  <a:gd name="connsiteY60" fmla="*/ 366966 h 658426"/>
                  <a:gd name="connsiteX61" fmla="*/ 559427 w 2432279"/>
                  <a:gd name="connsiteY61" fmla="*/ 437719 h 658426"/>
                  <a:gd name="connsiteX62" fmla="*/ 619620 w 2432279"/>
                  <a:gd name="connsiteY62" fmla="*/ 404191 h 658426"/>
                  <a:gd name="connsiteX63" fmla="*/ 689581 w 2432279"/>
                  <a:gd name="connsiteY63" fmla="*/ 617506 h 658426"/>
                  <a:gd name="connsiteX64" fmla="*/ 672685 w 2432279"/>
                  <a:gd name="connsiteY64" fmla="*/ 438775 h 658426"/>
                  <a:gd name="connsiteX65" fmla="*/ 739478 w 2432279"/>
                  <a:gd name="connsiteY65" fmla="*/ 200115 h 658426"/>
                  <a:gd name="connsiteX66" fmla="*/ 775119 w 2432279"/>
                  <a:gd name="connsiteY66" fmla="*/ 270869 h 658426"/>
                  <a:gd name="connsiteX67" fmla="*/ 768255 w 2432279"/>
                  <a:gd name="connsiteY67" fmla="*/ 333173 h 658426"/>
                  <a:gd name="connsiteX68" fmla="*/ 686149 w 2432279"/>
                  <a:gd name="connsiteY68" fmla="*/ 413431 h 658426"/>
                  <a:gd name="connsiteX69" fmla="*/ 717830 w 2432279"/>
                  <a:gd name="connsiteY69" fmla="*/ 438247 h 658426"/>
                  <a:gd name="connsiteX70" fmla="*/ 818416 w 2432279"/>
                  <a:gd name="connsiteY70" fmla="*/ 338982 h 658426"/>
                  <a:gd name="connsiteX71" fmla="*/ 878873 w 2432279"/>
                  <a:gd name="connsiteY71" fmla="*/ 293309 h 658426"/>
                  <a:gd name="connsiteX72" fmla="*/ 877817 w 2432279"/>
                  <a:gd name="connsiteY72" fmla="*/ 313373 h 658426"/>
                  <a:gd name="connsiteX73" fmla="*/ 950946 w 2432279"/>
                  <a:gd name="connsiteY73" fmla="*/ 416599 h 658426"/>
                  <a:gd name="connsiteX74" fmla="*/ 1031204 w 2432279"/>
                  <a:gd name="connsiteY74" fmla="*/ 354294 h 658426"/>
                  <a:gd name="connsiteX75" fmla="*/ 1033316 w 2432279"/>
                  <a:gd name="connsiteY75" fmla="*/ 413959 h 658426"/>
                  <a:gd name="connsiteX76" fmla="*/ 882833 w 2432279"/>
                  <a:gd name="connsiteY76" fmla="*/ 573945 h 658426"/>
                  <a:gd name="connsiteX77" fmla="*/ 963091 w 2432279"/>
                  <a:gd name="connsiteY77" fmla="*/ 658426 h 658426"/>
                  <a:gd name="connsiteX78" fmla="*/ 1086381 w 2432279"/>
                  <a:gd name="connsiteY78" fmla="*/ 431119 h 658426"/>
                  <a:gd name="connsiteX79" fmla="*/ 1170863 w 2432279"/>
                  <a:gd name="connsiteY79" fmla="*/ 392310 h 658426"/>
                  <a:gd name="connsiteX80" fmla="*/ 1256664 w 2432279"/>
                  <a:gd name="connsiteY80" fmla="*/ 437191 h 658426"/>
                  <a:gd name="connsiteX81" fmla="*/ 1388931 w 2432279"/>
                  <a:gd name="connsiteY81" fmla="*/ 346902 h 658426"/>
                  <a:gd name="connsiteX82" fmla="*/ 1431172 w 2432279"/>
                  <a:gd name="connsiteY82" fmla="*/ 437191 h 658426"/>
                  <a:gd name="connsiteX83" fmla="*/ 1517766 w 2432279"/>
                  <a:gd name="connsiteY83" fmla="*/ 204340 h 658426"/>
                  <a:gd name="connsiteX84" fmla="*/ 1589311 w 2432279"/>
                  <a:gd name="connsiteY84" fmla="*/ 456463 h 658426"/>
                  <a:gd name="connsiteX85" fmla="*/ 1685409 w 2432279"/>
                  <a:gd name="connsiteY85" fmla="*/ 234700 h 658426"/>
                  <a:gd name="connsiteX86" fmla="*/ 1769098 w 2432279"/>
                  <a:gd name="connsiteY86" fmla="*/ 437455 h 658426"/>
                  <a:gd name="connsiteX87" fmla="*/ 1849884 w 2432279"/>
                  <a:gd name="connsiteY87" fmla="*/ 323141 h 658426"/>
                  <a:gd name="connsiteX88" fmla="*/ 1934366 w 2432279"/>
                  <a:gd name="connsiteY88" fmla="*/ 437455 h 658426"/>
                  <a:gd name="connsiteX89" fmla="*/ 2009079 w 2432279"/>
                  <a:gd name="connsiteY89" fmla="*/ 367758 h 658426"/>
                  <a:gd name="connsiteX90" fmla="*/ 2048416 w 2432279"/>
                  <a:gd name="connsiteY90" fmla="*/ 437455 h 658426"/>
                  <a:gd name="connsiteX91" fmla="*/ 2151114 w 2432279"/>
                  <a:gd name="connsiteY91" fmla="*/ 205132 h 658426"/>
                  <a:gd name="connsiteX92" fmla="*/ 2261732 w 2432279"/>
                  <a:gd name="connsiteY92" fmla="*/ 437455 h 658426"/>
                  <a:gd name="connsiteX93" fmla="*/ 2333541 w 2432279"/>
                  <a:gd name="connsiteY93" fmla="*/ 359046 h 658426"/>
                  <a:gd name="connsiteX94" fmla="*/ 2395847 w 2432279"/>
                  <a:gd name="connsiteY94" fmla="*/ 437455 h 658426"/>
                  <a:gd name="connsiteX95" fmla="*/ 2432279 w 2432279"/>
                  <a:gd name="connsiteY95" fmla="*/ 417127 h 658426"/>
                  <a:gd name="connsiteX96" fmla="*/ 2371558 w 2432279"/>
                  <a:gd name="connsiteY96" fmla="*/ 216220 h 658426"/>
                  <a:gd name="connsiteX97" fmla="*/ 967051 w 2432279"/>
                  <a:gd name="connsiteY97" fmla="*/ 615394 h 658426"/>
                  <a:gd name="connsiteX98" fmla="*/ 935634 w 2432279"/>
                  <a:gd name="connsiteY98" fmla="*/ 573681 h 658426"/>
                  <a:gd name="connsiteX99" fmla="*/ 1033316 w 2432279"/>
                  <a:gd name="connsiteY99" fmla="*/ 455143 h 658426"/>
                  <a:gd name="connsiteX100" fmla="*/ 967051 w 2432279"/>
                  <a:gd name="connsiteY100" fmla="*/ 615394 h 658426"/>
                  <a:gd name="connsiteX101" fmla="*/ 1235016 w 2432279"/>
                  <a:gd name="connsiteY101" fmla="*/ 192987 h 658426"/>
                  <a:gd name="connsiteX102" fmla="*/ 1264585 w 2432279"/>
                  <a:gd name="connsiteY102" fmla="*/ 237868 h 658426"/>
                  <a:gd name="connsiteX103" fmla="*/ 1200167 w 2432279"/>
                  <a:gd name="connsiteY103" fmla="*/ 332645 h 658426"/>
                  <a:gd name="connsiteX104" fmla="*/ 1235016 w 2432279"/>
                  <a:gd name="connsiteY104" fmla="*/ 192987 h 658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2432279" h="658426">
                    <a:moveTo>
                      <a:pt x="2371558" y="216220"/>
                    </a:moveTo>
                    <a:cubicBezTo>
                      <a:pt x="2371558" y="181371"/>
                      <a:pt x="2369446" y="158139"/>
                      <a:pt x="2346742" y="158139"/>
                    </a:cubicBezTo>
                    <a:cubicBezTo>
                      <a:pt x="2336445" y="158139"/>
                      <a:pt x="2331165" y="160251"/>
                      <a:pt x="2322189" y="163155"/>
                    </a:cubicBezTo>
                    <a:cubicBezTo>
                      <a:pt x="2330373" y="281165"/>
                      <a:pt x="2303709" y="384918"/>
                      <a:pt x="2271236" y="384918"/>
                    </a:cubicBezTo>
                    <a:cubicBezTo>
                      <a:pt x="2228731" y="384918"/>
                      <a:pt x="2249852" y="132266"/>
                      <a:pt x="2159562" y="132266"/>
                    </a:cubicBezTo>
                    <a:cubicBezTo>
                      <a:pt x="2076400" y="132266"/>
                      <a:pt x="2064256" y="333966"/>
                      <a:pt x="2055016" y="333966"/>
                    </a:cubicBezTo>
                    <a:cubicBezTo>
                      <a:pt x="2048416" y="333966"/>
                      <a:pt x="2047624" y="280901"/>
                      <a:pt x="2047888" y="240772"/>
                    </a:cubicBezTo>
                    <a:cubicBezTo>
                      <a:pt x="2051320" y="221500"/>
                      <a:pt x="2053168" y="204076"/>
                      <a:pt x="2053168" y="190875"/>
                    </a:cubicBezTo>
                    <a:cubicBezTo>
                      <a:pt x="2053168" y="172131"/>
                      <a:pt x="2045512" y="139659"/>
                      <a:pt x="2003007" y="155763"/>
                    </a:cubicBezTo>
                    <a:cubicBezTo>
                      <a:pt x="2004591" y="299909"/>
                      <a:pt x="1975550" y="387030"/>
                      <a:pt x="1943078" y="387030"/>
                    </a:cubicBezTo>
                    <a:cubicBezTo>
                      <a:pt x="1895293" y="387030"/>
                      <a:pt x="1894765" y="256348"/>
                      <a:pt x="1894765" y="220180"/>
                    </a:cubicBezTo>
                    <a:cubicBezTo>
                      <a:pt x="1894765" y="185067"/>
                      <a:pt x="1897405" y="138075"/>
                      <a:pt x="1845132" y="154707"/>
                    </a:cubicBezTo>
                    <a:cubicBezTo>
                      <a:pt x="1837212" y="280637"/>
                      <a:pt x="1804475" y="375414"/>
                      <a:pt x="1783619" y="375414"/>
                    </a:cubicBezTo>
                    <a:cubicBezTo>
                      <a:pt x="1752730" y="375414"/>
                      <a:pt x="1758802" y="158139"/>
                      <a:pt x="1691745" y="158139"/>
                    </a:cubicBezTo>
                    <a:cubicBezTo>
                      <a:pt x="1631552" y="158139"/>
                      <a:pt x="1612807" y="364062"/>
                      <a:pt x="1600399" y="364062"/>
                    </a:cubicBezTo>
                    <a:cubicBezTo>
                      <a:pt x="1577959" y="364062"/>
                      <a:pt x="1607527" y="132266"/>
                      <a:pt x="1520406" y="132266"/>
                    </a:cubicBezTo>
                    <a:cubicBezTo>
                      <a:pt x="1474733" y="132266"/>
                      <a:pt x="1456516" y="209620"/>
                      <a:pt x="1438828" y="296213"/>
                    </a:cubicBezTo>
                    <a:cubicBezTo>
                      <a:pt x="1435396" y="313109"/>
                      <a:pt x="1431700" y="313373"/>
                      <a:pt x="1431172" y="294629"/>
                    </a:cubicBezTo>
                    <a:cubicBezTo>
                      <a:pt x="1430644" y="279053"/>
                      <a:pt x="1430644" y="261892"/>
                      <a:pt x="1430644" y="246052"/>
                    </a:cubicBezTo>
                    <a:cubicBezTo>
                      <a:pt x="1452556" y="158931"/>
                      <a:pt x="1425892" y="126986"/>
                      <a:pt x="1385499" y="149955"/>
                    </a:cubicBezTo>
                    <a:cubicBezTo>
                      <a:pt x="1398435" y="310469"/>
                      <a:pt x="1324778" y="389142"/>
                      <a:pt x="1268281" y="389142"/>
                    </a:cubicBezTo>
                    <a:cubicBezTo>
                      <a:pt x="1247952" y="389142"/>
                      <a:pt x="1231848" y="380430"/>
                      <a:pt x="1219704" y="366702"/>
                    </a:cubicBezTo>
                    <a:cubicBezTo>
                      <a:pt x="1287553" y="325253"/>
                      <a:pt x="1317650" y="277469"/>
                      <a:pt x="1317650" y="230740"/>
                    </a:cubicBezTo>
                    <a:cubicBezTo>
                      <a:pt x="1317650" y="180051"/>
                      <a:pt x="1288609" y="151011"/>
                      <a:pt x="1240296" y="151011"/>
                    </a:cubicBezTo>
                    <a:cubicBezTo>
                      <a:pt x="1172975" y="151011"/>
                      <a:pt x="1135486" y="220444"/>
                      <a:pt x="1135486" y="279317"/>
                    </a:cubicBezTo>
                    <a:cubicBezTo>
                      <a:pt x="1135486" y="310997"/>
                      <a:pt x="1141294" y="337926"/>
                      <a:pt x="1151062" y="360102"/>
                    </a:cubicBezTo>
                    <a:cubicBezTo>
                      <a:pt x="1127830" y="371190"/>
                      <a:pt x="1106181" y="380694"/>
                      <a:pt x="1085853" y="389934"/>
                    </a:cubicBezTo>
                    <a:cubicBezTo>
                      <a:pt x="1084005" y="329213"/>
                      <a:pt x="1077141" y="265588"/>
                      <a:pt x="1072125" y="206980"/>
                    </a:cubicBezTo>
                    <a:cubicBezTo>
                      <a:pt x="1036220" y="197211"/>
                      <a:pt x="1025924" y="214372"/>
                      <a:pt x="1023020" y="246316"/>
                    </a:cubicBezTo>
                    <a:cubicBezTo>
                      <a:pt x="1016684" y="318917"/>
                      <a:pt x="989755" y="364326"/>
                      <a:pt x="965995" y="364326"/>
                    </a:cubicBezTo>
                    <a:cubicBezTo>
                      <a:pt x="948042" y="364326"/>
                      <a:pt x="937218" y="342414"/>
                      <a:pt x="935898" y="319181"/>
                    </a:cubicBezTo>
                    <a:cubicBezTo>
                      <a:pt x="929298" y="202492"/>
                      <a:pt x="1023812" y="170283"/>
                      <a:pt x="1073445" y="186915"/>
                    </a:cubicBezTo>
                    <a:cubicBezTo>
                      <a:pt x="1083741" y="161307"/>
                      <a:pt x="1072389" y="142827"/>
                      <a:pt x="1027772" y="142827"/>
                    </a:cubicBezTo>
                    <a:cubicBezTo>
                      <a:pt x="973651" y="142827"/>
                      <a:pt x="932994" y="175827"/>
                      <a:pt x="903426" y="218068"/>
                    </a:cubicBezTo>
                    <a:cubicBezTo>
                      <a:pt x="883625" y="246316"/>
                      <a:pt x="860657" y="266116"/>
                      <a:pt x="830296" y="290405"/>
                    </a:cubicBezTo>
                    <a:cubicBezTo>
                      <a:pt x="831088" y="283541"/>
                      <a:pt x="831352" y="276413"/>
                      <a:pt x="831352" y="269549"/>
                    </a:cubicBezTo>
                    <a:cubicBezTo>
                      <a:pt x="831352" y="187179"/>
                      <a:pt x="786735" y="151275"/>
                      <a:pt x="744230" y="151275"/>
                    </a:cubicBezTo>
                    <a:cubicBezTo>
                      <a:pt x="709118" y="151275"/>
                      <a:pt x="686941" y="172395"/>
                      <a:pt x="674005" y="204868"/>
                    </a:cubicBezTo>
                    <a:cubicBezTo>
                      <a:pt x="670837" y="172395"/>
                      <a:pt x="664501" y="158403"/>
                      <a:pt x="645493" y="158403"/>
                    </a:cubicBezTo>
                    <a:cubicBezTo>
                      <a:pt x="637308" y="158403"/>
                      <a:pt x="626220" y="160779"/>
                      <a:pt x="614076" y="166587"/>
                    </a:cubicBezTo>
                    <a:cubicBezTo>
                      <a:pt x="619620" y="184803"/>
                      <a:pt x="621732" y="224932"/>
                      <a:pt x="621732" y="251332"/>
                    </a:cubicBezTo>
                    <a:cubicBezTo>
                      <a:pt x="621732" y="350334"/>
                      <a:pt x="593484" y="394422"/>
                      <a:pt x="566027" y="394422"/>
                    </a:cubicBezTo>
                    <a:cubicBezTo>
                      <a:pt x="534874" y="394422"/>
                      <a:pt x="529858" y="277205"/>
                      <a:pt x="527218" y="231532"/>
                    </a:cubicBezTo>
                    <a:cubicBezTo>
                      <a:pt x="523258" y="230212"/>
                      <a:pt x="518770" y="228628"/>
                      <a:pt x="511906" y="228628"/>
                    </a:cubicBezTo>
                    <a:cubicBezTo>
                      <a:pt x="483657" y="228628"/>
                      <a:pt x="479961" y="266380"/>
                      <a:pt x="473097" y="301229"/>
                    </a:cubicBezTo>
                    <a:cubicBezTo>
                      <a:pt x="465441" y="339774"/>
                      <a:pt x="443265" y="388350"/>
                      <a:pt x="410264" y="388350"/>
                    </a:cubicBezTo>
                    <a:cubicBezTo>
                      <a:pt x="390464" y="388350"/>
                      <a:pt x="378055" y="369078"/>
                      <a:pt x="376471" y="334758"/>
                    </a:cubicBezTo>
                    <a:cubicBezTo>
                      <a:pt x="373303" y="264796"/>
                      <a:pt x="431384" y="181899"/>
                      <a:pt x="522466" y="207772"/>
                    </a:cubicBezTo>
                    <a:cubicBezTo>
                      <a:pt x="534346" y="180051"/>
                      <a:pt x="515602" y="158667"/>
                      <a:pt x="477849" y="158667"/>
                    </a:cubicBezTo>
                    <a:cubicBezTo>
                      <a:pt x="411320" y="158667"/>
                      <a:pt x="356407" y="208564"/>
                      <a:pt x="332382" y="267437"/>
                    </a:cubicBezTo>
                    <a:cubicBezTo>
                      <a:pt x="308094" y="321557"/>
                      <a:pt x="265325" y="400759"/>
                      <a:pt x="178731" y="400759"/>
                    </a:cubicBezTo>
                    <a:cubicBezTo>
                      <a:pt x="117482" y="400759"/>
                      <a:pt x="70753" y="347430"/>
                      <a:pt x="70753" y="235228"/>
                    </a:cubicBezTo>
                    <a:cubicBezTo>
                      <a:pt x="70753" y="138603"/>
                      <a:pt x="131739" y="46993"/>
                      <a:pt x="196684" y="46993"/>
                    </a:cubicBezTo>
                    <a:cubicBezTo>
                      <a:pt x="242093" y="46993"/>
                      <a:pt x="252653" y="91610"/>
                      <a:pt x="248693" y="133587"/>
                    </a:cubicBezTo>
                    <a:cubicBezTo>
                      <a:pt x="272189" y="152595"/>
                      <a:pt x="310734" y="134907"/>
                      <a:pt x="310734" y="87650"/>
                    </a:cubicBezTo>
                    <a:cubicBezTo>
                      <a:pt x="310734" y="55177"/>
                      <a:pt x="284334" y="0"/>
                      <a:pt x="199060" y="0"/>
                    </a:cubicBezTo>
                    <a:cubicBezTo>
                      <a:pt x="93194" y="-264"/>
                      <a:pt x="0" y="105074"/>
                      <a:pt x="0" y="243412"/>
                    </a:cubicBezTo>
                    <a:cubicBezTo>
                      <a:pt x="0" y="377262"/>
                      <a:pt x="68113" y="456463"/>
                      <a:pt x="164211" y="456463"/>
                    </a:cubicBezTo>
                    <a:cubicBezTo>
                      <a:pt x="224932" y="456463"/>
                      <a:pt x="282221" y="421879"/>
                      <a:pt x="321822" y="357990"/>
                    </a:cubicBezTo>
                    <a:cubicBezTo>
                      <a:pt x="331854" y="413959"/>
                      <a:pt x="369871" y="437455"/>
                      <a:pt x="398384" y="437455"/>
                    </a:cubicBezTo>
                    <a:cubicBezTo>
                      <a:pt x="444585" y="437455"/>
                      <a:pt x="474945" y="407623"/>
                      <a:pt x="491314" y="366966"/>
                    </a:cubicBezTo>
                    <a:cubicBezTo>
                      <a:pt x="501610" y="407623"/>
                      <a:pt x="523258" y="437719"/>
                      <a:pt x="559427" y="437719"/>
                    </a:cubicBezTo>
                    <a:cubicBezTo>
                      <a:pt x="584771" y="437719"/>
                      <a:pt x="604572" y="424783"/>
                      <a:pt x="619620" y="404191"/>
                    </a:cubicBezTo>
                    <a:cubicBezTo>
                      <a:pt x="613812" y="545433"/>
                      <a:pt x="606156" y="635458"/>
                      <a:pt x="689581" y="617506"/>
                    </a:cubicBezTo>
                    <a:cubicBezTo>
                      <a:pt x="676645" y="577377"/>
                      <a:pt x="672685" y="504248"/>
                      <a:pt x="672685" y="438775"/>
                    </a:cubicBezTo>
                    <a:cubicBezTo>
                      <a:pt x="672685" y="259252"/>
                      <a:pt x="702254" y="200115"/>
                      <a:pt x="739478" y="200115"/>
                    </a:cubicBezTo>
                    <a:cubicBezTo>
                      <a:pt x="766407" y="200115"/>
                      <a:pt x="775119" y="234436"/>
                      <a:pt x="775119" y="270869"/>
                    </a:cubicBezTo>
                    <a:cubicBezTo>
                      <a:pt x="775119" y="290405"/>
                      <a:pt x="773271" y="312845"/>
                      <a:pt x="768255" y="333173"/>
                    </a:cubicBezTo>
                    <a:cubicBezTo>
                      <a:pt x="722582" y="361950"/>
                      <a:pt x="686149" y="384654"/>
                      <a:pt x="686149" y="413431"/>
                    </a:cubicBezTo>
                    <a:cubicBezTo>
                      <a:pt x="686149" y="436135"/>
                      <a:pt x="703046" y="438247"/>
                      <a:pt x="717830" y="438247"/>
                    </a:cubicBezTo>
                    <a:cubicBezTo>
                      <a:pt x="752943" y="438247"/>
                      <a:pt x="794919" y="403927"/>
                      <a:pt x="818416" y="338982"/>
                    </a:cubicBezTo>
                    <a:cubicBezTo>
                      <a:pt x="838744" y="326573"/>
                      <a:pt x="859073" y="312581"/>
                      <a:pt x="878873" y="293309"/>
                    </a:cubicBezTo>
                    <a:cubicBezTo>
                      <a:pt x="878081" y="299909"/>
                      <a:pt x="877817" y="306509"/>
                      <a:pt x="877817" y="313373"/>
                    </a:cubicBezTo>
                    <a:cubicBezTo>
                      <a:pt x="877817" y="377790"/>
                      <a:pt x="906066" y="416599"/>
                      <a:pt x="950946" y="416599"/>
                    </a:cubicBezTo>
                    <a:cubicBezTo>
                      <a:pt x="986059" y="416599"/>
                      <a:pt x="1012724" y="391518"/>
                      <a:pt x="1031204" y="354294"/>
                    </a:cubicBezTo>
                    <a:cubicBezTo>
                      <a:pt x="1032260" y="375942"/>
                      <a:pt x="1033052" y="395742"/>
                      <a:pt x="1033316" y="413959"/>
                    </a:cubicBezTo>
                    <a:cubicBezTo>
                      <a:pt x="961771" y="446959"/>
                      <a:pt x="882833" y="480488"/>
                      <a:pt x="882833" y="573945"/>
                    </a:cubicBezTo>
                    <a:cubicBezTo>
                      <a:pt x="882833" y="622258"/>
                      <a:pt x="917682" y="658426"/>
                      <a:pt x="963091" y="658426"/>
                    </a:cubicBezTo>
                    <a:cubicBezTo>
                      <a:pt x="1062621" y="658426"/>
                      <a:pt x="1085325" y="553353"/>
                      <a:pt x="1086381" y="431119"/>
                    </a:cubicBezTo>
                    <a:cubicBezTo>
                      <a:pt x="1118854" y="417127"/>
                      <a:pt x="1142878" y="406303"/>
                      <a:pt x="1170863" y="392310"/>
                    </a:cubicBezTo>
                    <a:cubicBezTo>
                      <a:pt x="1194623" y="422143"/>
                      <a:pt x="1227096" y="437191"/>
                      <a:pt x="1256664" y="437191"/>
                    </a:cubicBezTo>
                    <a:cubicBezTo>
                      <a:pt x="1312897" y="437191"/>
                      <a:pt x="1355138" y="407359"/>
                      <a:pt x="1388931" y="346902"/>
                    </a:cubicBezTo>
                    <a:cubicBezTo>
                      <a:pt x="1395003" y="392838"/>
                      <a:pt x="1406883" y="437191"/>
                      <a:pt x="1431172" y="437191"/>
                    </a:cubicBezTo>
                    <a:cubicBezTo>
                      <a:pt x="1475789" y="437191"/>
                      <a:pt x="1484765" y="204340"/>
                      <a:pt x="1517766" y="204340"/>
                    </a:cubicBezTo>
                    <a:cubicBezTo>
                      <a:pt x="1543110" y="204340"/>
                      <a:pt x="1522253" y="456463"/>
                      <a:pt x="1589311" y="456463"/>
                    </a:cubicBezTo>
                    <a:cubicBezTo>
                      <a:pt x="1646600" y="456463"/>
                      <a:pt x="1657424" y="234700"/>
                      <a:pt x="1685409" y="234700"/>
                    </a:cubicBezTo>
                    <a:cubicBezTo>
                      <a:pt x="1705209" y="234700"/>
                      <a:pt x="1706793" y="437455"/>
                      <a:pt x="1769098" y="437455"/>
                    </a:cubicBezTo>
                    <a:cubicBezTo>
                      <a:pt x="1799723" y="437455"/>
                      <a:pt x="1833252" y="400494"/>
                      <a:pt x="1849884" y="323141"/>
                    </a:cubicBezTo>
                    <a:cubicBezTo>
                      <a:pt x="1857804" y="374622"/>
                      <a:pt x="1883677" y="437455"/>
                      <a:pt x="1934366" y="437455"/>
                    </a:cubicBezTo>
                    <a:cubicBezTo>
                      <a:pt x="1963934" y="437455"/>
                      <a:pt x="1989543" y="407623"/>
                      <a:pt x="2009079" y="367758"/>
                    </a:cubicBezTo>
                    <a:cubicBezTo>
                      <a:pt x="2014623" y="408679"/>
                      <a:pt x="2026239" y="437455"/>
                      <a:pt x="2048416" y="437455"/>
                    </a:cubicBezTo>
                    <a:cubicBezTo>
                      <a:pt x="2106761" y="437455"/>
                      <a:pt x="2104913" y="205132"/>
                      <a:pt x="2151114" y="205132"/>
                    </a:cubicBezTo>
                    <a:cubicBezTo>
                      <a:pt x="2187282" y="205132"/>
                      <a:pt x="2175930" y="437455"/>
                      <a:pt x="2261732" y="437455"/>
                    </a:cubicBezTo>
                    <a:cubicBezTo>
                      <a:pt x="2302653" y="437455"/>
                      <a:pt x="2321925" y="402607"/>
                      <a:pt x="2333541" y="359046"/>
                    </a:cubicBezTo>
                    <a:cubicBezTo>
                      <a:pt x="2349382" y="423199"/>
                      <a:pt x="2374726" y="437455"/>
                      <a:pt x="2395847" y="437455"/>
                    </a:cubicBezTo>
                    <a:cubicBezTo>
                      <a:pt x="2409047" y="437455"/>
                      <a:pt x="2419079" y="432703"/>
                      <a:pt x="2432279" y="417127"/>
                    </a:cubicBezTo>
                    <a:cubicBezTo>
                      <a:pt x="2366014" y="388614"/>
                      <a:pt x="2371558" y="283805"/>
                      <a:pt x="2371558" y="216220"/>
                    </a:cubicBezTo>
                    <a:close/>
                    <a:moveTo>
                      <a:pt x="967051" y="615394"/>
                    </a:moveTo>
                    <a:cubicBezTo>
                      <a:pt x="946458" y="615394"/>
                      <a:pt x="935634" y="595857"/>
                      <a:pt x="935634" y="573681"/>
                    </a:cubicBezTo>
                    <a:cubicBezTo>
                      <a:pt x="935634" y="514016"/>
                      <a:pt x="979459" y="482336"/>
                      <a:pt x="1033316" y="455143"/>
                    </a:cubicBezTo>
                    <a:cubicBezTo>
                      <a:pt x="1030676" y="585561"/>
                      <a:pt x="1000579" y="615394"/>
                      <a:pt x="967051" y="615394"/>
                    </a:cubicBezTo>
                    <a:close/>
                    <a:moveTo>
                      <a:pt x="1235016" y="192987"/>
                    </a:moveTo>
                    <a:cubicBezTo>
                      <a:pt x="1255080" y="192987"/>
                      <a:pt x="1266433" y="211468"/>
                      <a:pt x="1264585" y="237868"/>
                    </a:cubicBezTo>
                    <a:cubicBezTo>
                      <a:pt x="1262209" y="269021"/>
                      <a:pt x="1239504" y="304661"/>
                      <a:pt x="1200167" y="332645"/>
                    </a:cubicBezTo>
                    <a:cubicBezTo>
                      <a:pt x="1179575" y="274037"/>
                      <a:pt x="1194887" y="192987"/>
                      <a:pt x="1235016" y="192987"/>
                    </a:cubicBezTo>
                    <a:close/>
                  </a:path>
                </a:pathLst>
              </a:custGeom>
              <a:solidFill>
                <a:srgbClr val="0075B3"/>
              </a:solidFill>
              <a:ln w="2637"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13BCF151-A707-475C-B622-75F7D621B946}"/>
                  </a:ext>
                </a:extLst>
              </p:cNvPr>
              <p:cNvSpPr/>
              <p:nvPr/>
            </p:nvSpPr>
            <p:spPr>
              <a:xfrm>
                <a:off x="2256754" y="5990935"/>
                <a:ext cx="67057" cy="71059"/>
              </a:xfrm>
              <a:custGeom>
                <a:avLst/>
                <a:gdLst>
                  <a:gd name="connsiteX0" fmla="*/ 34585 w 67057"/>
                  <a:gd name="connsiteY0" fmla="*/ 71030 h 71059"/>
                  <a:gd name="connsiteX1" fmla="*/ 67057 w 67057"/>
                  <a:gd name="connsiteY1" fmla="*/ 34334 h 71059"/>
                  <a:gd name="connsiteX2" fmla="*/ 34849 w 67057"/>
                  <a:gd name="connsiteY2" fmla="*/ 13 h 71059"/>
                  <a:gd name="connsiteX3" fmla="*/ 0 w 67057"/>
                  <a:gd name="connsiteY3" fmla="*/ 36710 h 71059"/>
                  <a:gd name="connsiteX4" fmla="*/ 34585 w 67057"/>
                  <a:gd name="connsiteY4" fmla="*/ 71030 h 71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57" h="71059">
                    <a:moveTo>
                      <a:pt x="34585" y="71030"/>
                    </a:moveTo>
                    <a:cubicBezTo>
                      <a:pt x="53593" y="70502"/>
                      <a:pt x="67057" y="53870"/>
                      <a:pt x="67057" y="34334"/>
                    </a:cubicBezTo>
                    <a:cubicBezTo>
                      <a:pt x="67057" y="14797"/>
                      <a:pt x="53857" y="-515"/>
                      <a:pt x="34849" y="13"/>
                    </a:cubicBezTo>
                    <a:cubicBezTo>
                      <a:pt x="15840" y="541"/>
                      <a:pt x="0" y="17174"/>
                      <a:pt x="0" y="36710"/>
                    </a:cubicBezTo>
                    <a:cubicBezTo>
                      <a:pt x="0" y="56510"/>
                      <a:pt x="15576" y="71822"/>
                      <a:pt x="34585" y="71030"/>
                    </a:cubicBezTo>
                    <a:close/>
                  </a:path>
                </a:pathLst>
              </a:custGeom>
              <a:solidFill>
                <a:srgbClr val="0075B3"/>
              </a:solidFill>
              <a:ln w="2637"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B118A267-FA31-42C5-BDE3-387ACAA6FF61}"/>
                  </a:ext>
                </a:extLst>
              </p:cNvPr>
              <p:cNvSpPr/>
              <p:nvPr/>
            </p:nvSpPr>
            <p:spPr>
              <a:xfrm>
                <a:off x="2735395" y="6004645"/>
                <a:ext cx="63097" cy="67365"/>
              </a:xfrm>
              <a:custGeom>
                <a:avLst/>
                <a:gdLst>
                  <a:gd name="connsiteX0" fmla="*/ 31417 w 63097"/>
                  <a:gd name="connsiteY0" fmla="*/ 67352 h 67365"/>
                  <a:gd name="connsiteX1" fmla="*/ 63097 w 63097"/>
                  <a:gd name="connsiteY1" fmla="*/ 32503 h 67365"/>
                  <a:gd name="connsiteX2" fmla="*/ 31681 w 63097"/>
                  <a:gd name="connsiteY2" fmla="*/ 31 h 67365"/>
                  <a:gd name="connsiteX3" fmla="*/ 0 w 63097"/>
                  <a:gd name="connsiteY3" fmla="*/ 34879 h 67365"/>
                  <a:gd name="connsiteX4" fmla="*/ 31417 w 63097"/>
                  <a:gd name="connsiteY4" fmla="*/ 67352 h 67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97" h="67365">
                    <a:moveTo>
                      <a:pt x="31417" y="67352"/>
                    </a:moveTo>
                    <a:cubicBezTo>
                      <a:pt x="48841" y="66824"/>
                      <a:pt x="63097" y="50984"/>
                      <a:pt x="63097" y="32503"/>
                    </a:cubicBezTo>
                    <a:cubicBezTo>
                      <a:pt x="63097" y="13759"/>
                      <a:pt x="49105" y="-761"/>
                      <a:pt x="31681" y="31"/>
                    </a:cubicBezTo>
                    <a:cubicBezTo>
                      <a:pt x="14256" y="559"/>
                      <a:pt x="0" y="16399"/>
                      <a:pt x="0" y="34879"/>
                    </a:cubicBezTo>
                    <a:cubicBezTo>
                      <a:pt x="0" y="53360"/>
                      <a:pt x="13992" y="67880"/>
                      <a:pt x="31417" y="67352"/>
                    </a:cubicBezTo>
                    <a:close/>
                  </a:path>
                </a:pathLst>
              </a:custGeom>
              <a:solidFill>
                <a:srgbClr val="0075B3"/>
              </a:solidFill>
              <a:ln w="2637"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595951C8-403A-49DC-81DF-6E927D1E9CFC}"/>
                  </a:ext>
                </a:extLst>
              </p:cNvPr>
              <p:cNvSpPr/>
              <p:nvPr/>
            </p:nvSpPr>
            <p:spPr>
              <a:xfrm>
                <a:off x="2888254" y="5948708"/>
                <a:ext cx="525106" cy="442432"/>
              </a:xfrm>
              <a:custGeom>
                <a:avLst/>
                <a:gdLst>
                  <a:gd name="connsiteX0" fmla="*/ 524842 w 525106"/>
                  <a:gd name="connsiteY0" fmla="*/ 277732 h 442432"/>
                  <a:gd name="connsiteX1" fmla="*/ 434288 w 525106"/>
                  <a:gd name="connsiteY1" fmla="*/ 92401 h 442432"/>
                  <a:gd name="connsiteX2" fmla="*/ 293310 w 525106"/>
                  <a:gd name="connsiteY2" fmla="*/ 5016 h 442432"/>
                  <a:gd name="connsiteX3" fmla="*/ 280902 w 525106"/>
                  <a:gd name="connsiteY3" fmla="*/ 0 h 442432"/>
                  <a:gd name="connsiteX4" fmla="*/ 280902 w 525106"/>
                  <a:gd name="connsiteY4" fmla="*/ 0 h 442432"/>
                  <a:gd name="connsiteX5" fmla="*/ 280902 w 525106"/>
                  <a:gd name="connsiteY5" fmla="*/ 0 h 442432"/>
                  <a:gd name="connsiteX6" fmla="*/ 0 w 525106"/>
                  <a:gd name="connsiteY6" fmla="*/ 289612 h 442432"/>
                  <a:gd name="connsiteX7" fmla="*/ 96362 w 525106"/>
                  <a:gd name="connsiteY7" fmla="*/ 432438 h 442432"/>
                  <a:gd name="connsiteX8" fmla="*/ 196156 w 525106"/>
                  <a:gd name="connsiteY8" fmla="*/ 434551 h 442432"/>
                  <a:gd name="connsiteX9" fmla="*/ 270341 w 525106"/>
                  <a:gd name="connsiteY9" fmla="*/ 384126 h 442432"/>
                  <a:gd name="connsiteX10" fmla="*/ 439041 w 525106"/>
                  <a:gd name="connsiteY10" fmla="*/ 203547 h 442432"/>
                  <a:gd name="connsiteX11" fmla="*/ 525106 w 525106"/>
                  <a:gd name="connsiteY11" fmla="*/ 282484 h 442432"/>
                  <a:gd name="connsiteX12" fmla="*/ 524842 w 525106"/>
                  <a:gd name="connsiteY12" fmla="*/ 277732 h 442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5106" h="442432">
                    <a:moveTo>
                      <a:pt x="524842" y="277732"/>
                    </a:moveTo>
                    <a:cubicBezTo>
                      <a:pt x="523522" y="204075"/>
                      <a:pt x="488409" y="141770"/>
                      <a:pt x="434288" y="92401"/>
                    </a:cubicBezTo>
                    <a:cubicBezTo>
                      <a:pt x="393368" y="54913"/>
                      <a:pt x="344527" y="26400"/>
                      <a:pt x="293310" y="5016"/>
                    </a:cubicBezTo>
                    <a:cubicBezTo>
                      <a:pt x="289086" y="3168"/>
                      <a:pt x="285126" y="1584"/>
                      <a:pt x="280902" y="0"/>
                    </a:cubicBezTo>
                    <a:lnTo>
                      <a:pt x="280902" y="0"/>
                    </a:lnTo>
                    <a:cubicBezTo>
                      <a:pt x="280902" y="0"/>
                      <a:pt x="280902" y="0"/>
                      <a:pt x="280902" y="0"/>
                    </a:cubicBezTo>
                    <a:cubicBezTo>
                      <a:pt x="218068" y="75505"/>
                      <a:pt x="0" y="131738"/>
                      <a:pt x="0" y="289612"/>
                    </a:cubicBezTo>
                    <a:cubicBezTo>
                      <a:pt x="0" y="351389"/>
                      <a:pt x="39073" y="409206"/>
                      <a:pt x="96362" y="432438"/>
                    </a:cubicBezTo>
                    <a:cubicBezTo>
                      <a:pt x="129627" y="445111"/>
                      <a:pt x="162891" y="445639"/>
                      <a:pt x="196156" y="434551"/>
                    </a:cubicBezTo>
                    <a:cubicBezTo>
                      <a:pt x="225724" y="424782"/>
                      <a:pt x="250013" y="406566"/>
                      <a:pt x="270341" y="384126"/>
                    </a:cubicBezTo>
                    <a:cubicBezTo>
                      <a:pt x="334230" y="313373"/>
                      <a:pt x="360367" y="203547"/>
                      <a:pt x="439041" y="203547"/>
                    </a:cubicBezTo>
                    <a:cubicBezTo>
                      <a:pt x="510850" y="203547"/>
                      <a:pt x="520618" y="254764"/>
                      <a:pt x="525106" y="282484"/>
                    </a:cubicBezTo>
                    <a:cubicBezTo>
                      <a:pt x="525106" y="282484"/>
                      <a:pt x="524842" y="280636"/>
                      <a:pt x="524842" y="277732"/>
                    </a:cubicBezTo>
                    <a:close/>
                  </a:path>
                </a:pathLst>
              </a:custGeom>
              <a:solidFill>
                <a:srgbClr val="0075B3"/>
              </a:solidFill>
              <a:ln w="2637" cap="flat">
                <a:noFill/>
                <a:prstDash val="solid"/>
                <a:miter/>
              </a:ln>
            </p:spPr>
            <p:txBody>
              <a:bodyPr rtlCol="0" anchor="ctr"/>
              <a:lstStyle/>
              <a:p>
                <a:endParaRPr lang="en-US"/>
              </a:p>
            </p:txBody>
          </p:sp>
        </p:grpSp>
      </p:grpSp>
      <p:cxnSp>
        <p:nvCxnSpPr>
          <p:cNvPr id="27" name="Straight Connector 26">
            <a:extLst>
              <a:ext uri="{FF2B5EF4-FFF2-40B4-BE49-F238E27FC236}">
                <a16:creationId xmlns:a16="http://schemas.microsoft.com/office/drawing/2014/main" id="{3F1167D8-4B9B-4B89-A6DE-17928732F419}"/>
              </a:ext>
            </a:extLst>
          </p:cNvPr>
          <p:cNvCxnSpPr>
            <a:cxnSpLocks/>
          </p:cNvCxnSpPr>
          <p:nvPr userDrawn="1"/>
        </p:nvCxnSpPr>
        <p:spPr>
          <a:xfrm>
            <a:off x="10399183" y="270405"/>
            <a:ext cx="0" cy="28866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85970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Custom Layout">
    <p:bg>
      <p:bgPr>
        <a:solidFill>
          <a:schemeClr val="bg1">
            <a:lumMod val="85000"/>
          </a:schemeClr>
        </a:solidFill>
        <a:effectLst/>
      </p:bgPr>
    </p:bg>
    <p:spTree>
      <p:nvGrpSpPr>
        <p:cNvPr id="1" name=""/>
        <p:cNvGrpSpPr/>
        <p:nvPr/>
      </p:nvGrpSpPr>
      <p:grpSpPr>
        <a:xfrm>
          <a:off x="0" y="0"/>
          <a:ext cx="0" cy="0"/>
          <a:chOff x="0" y="0"/>
          <a:chExt cx="0" cy="0"/>
        </a:xfrm>
      </p:grpSpPr>
      <p:grpSp>
        <p:nvGrpSpPr>
          <p:cNvPr id="18" name="Groupe 12">
            <a:extLst>
              <a:ext uri="{FF2B5EF4-FFF2-40B4-BE49-F238E27FC236}">
                <a16:creationId xmlns:a16="http://schemas.microsoft.com/office/drawing/2014/main" id="{FBD04340-B02F-4271-A694-96D880CA3B6C}"/>
              </a:ext>
            </a:extLst>
          </p:cNvPr>
          <p:cNvGrpSpPr/>
          <p:nvPr userDrawn="1"/>
        </p:nvGrpSpPr>
        <p:grpSpPr>
          <a:xfrm>
            <a:off x="1" y="1"/>
            <a:ext cx="8207631" cy="6858000"/>
            <a:chOff x="4563415" y="273880"/>
            <a:chExt cx="6709149" cy="6410325"/>
          </a:xfrm>
        </p:grpSpPr>
        <p:sp>
          <p:nvSpPr>
            <p:cNvPr id="19" name="Forme libre : forme 4">
              <a:extLst>
                <a:ext uri="{FF2B5EF4-FFF2-40B4-BE49-F238E27FC236}">
                  <a16:creationId xmlns:a16="http://schemas.microsoft.com/office/drawing/2014/main" id="{9A02A28C-ECA2-4E2B-9EB5-7FD423FE6461}"/>
                </a:ext>
              </a:extLst>
            </p:cNvPr>
            <p:cNvSpPr/>
            <p:nvPr/>
          </p:nvSpPr>
          <p:spPr>
            <a:xfrm>
              <a:off x="5131854" y="273880"/>
              <a:ext cx="614071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20" name="Forme libre : forme 11">
              <a:extLst>
                <a:ext uri="{FF2B5EF4-FFF2-40B4-BE49-F238E27FC236}">
                  <a16:creationId xmlns:a16="http://schemas.microsoft.com/office/drawing/2014/main" id="{80234A9B-1C93-4725-B530-3AAC07B209B2}"/>
                </a:ext>
              </a:extLst>
            </p:cNvPr>
            <p:cNvSpPr/>
            <p:nvPr/>
          </p:nvSpPr>
          <p:spPr>
            <a:xfrm>
              <a:off x="4563415" y="273880"/>
              <a:ext cx="2510863"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E616"/>
            </a:solidFill>
            <a:ln w="9525" cap="flat">
              <a:noFill/>
              <a:prstDash val="solid"/>
              <a:miter/>
            </a:ln>
          </p:spPr>
          <p:txBody>
            <a:bodyPr rtlCol="0" anchor="ctr"/>
            <a:lstStyle/>
            <a:p>
              <a:endParaRPr lang="en-US"/>
            </a:p>
          </p:txBody>
        </p:sp>
      </p:grpSp>
      <p:grpSp>
        <p:nvGrpSpPr>
          <p:cNvPr id="57" name="Group 56">
            <a:extLst>
              <a:ext uri="{FF2B5EF4-FFF2-40B4-BE49-F238E27FC236}">
                <a16:creationId xmlns:a16="http://schemas.microsoft.com/office/drawing/2014/main" id="{06DE7A84-B9A8-48C8-877D-2A0C52EA3ECD}"/>
              </a:ext>
            </a:extLst>
          </p:cNvPr>
          <p:cNvGrpSpPr/>
          <p:nvPr userDrawn="1"/>
        </p:nvGrpSpPr>
        <p:grpSpPr>
          <a:xfrm>
            <a:off x="119336" y="116632"/>
            <a:ext cx="1635650" cy="2088232"/>
            <a:chOff x="390755" y="95612"/>
            <a:chExt cx="1747488" cy="2265745"/>
          </a:xfrm>
        </p:grpSpPr>
        <p:sp>
          <p:nvSpPr>
            <p:cNvPr id="58" name="Rectangle: Rounded Corners 57">
              <a:extLst>
                <a:ext uri="{FF2B5EF4-FFF2-40B4-BE49-F238E27FC236}">
                  <a16:creationId xmlns:a16="http://schemas.microsoft.com/office/drawing/2014/main" id="{458100CC-1B32-41B0-BFCC-FF6DCF040284}"/>
                </a:ext>
              </a:extLst>
            </p:cNvPr>
            <p:cNvSpPr/>
            <p:nvPr/>
          </p:nvSpPr>
          <p:spPr>
            <a:xfrm>
              <a:off x="390755" y="95612"/>
              <a:ext cx="1747488" cy="226574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9" name="Groupe 346">
              <a:extLst>
                <a:ext uri="{FF2B5EF4-FFF2-40B4-BE49-F238E27FC236}">
                  <a16:creationId xmlns:a16="http://schemas.microsoft.com/office/drawing/2014/main" id="{F5F94E7A-6988-4DCC-81E0-275E1BB63B9B}"/>
                </a:ext>
              </a:extLst>
            </p:cNvPr>
            <p:cNvGrpSpPr/>
            <p:nvPr/>
          </p:nvGrpSpPr>
          <p:grpSpPr>
            <a:xfrm>
              <a:off x="574802" y="313523"/>
              <a:ext cx="1364401" cy="1743877"/>
              <a:chOff x="9590089" y="2325687"/>
              <a:chExt cx="285750" cy="379413"/>
            </a:xfrm>
          </p:grpSpPr>
          <p:sp>
            <p:nvSpPr>
              <p:cNvPr id="60" name="Freeform 108">
                <a:extLst>
                  <a:ext uri="{FF2B5EF4-FFF2-40B4-BE49-F238E27FC236}">
                    <a16:creationId xmlns:a16="http://schemas.microsoft.com/office/drawing/2014/main" id="{5C11457F-911D-4643-99B0-3055B6B79A13}"/>
                  </a:ext>
                </a:extLst>
              </p:cNvPr>
              <p:cNvSpPr>
                <a:spLocks/>
              </p:cNvSpPr>
              <p:nvPr/>
            </p:nvSpPr>
            <p:spPr bwMode="auto">
              <a:xfrm>
                <a:off x="9590089" y="2493962"/>
                <a:ext cx="285750" cy="211138"/>
              </a:xfrm>
              <a:custGeom>
                <a:avLst/>
                <a:gdLst>
                  <a:gd name="T0" fmla="*/ 49 w 76"/>
                  <a:gd name="T1" fmla="*/ 0 h 56"/>
                  <a:gd name="T2" fmla="*/ 70 w 76"/>
                  <a:gd name="T3" fmla="*/ 20 h 56"/>
                  <a:gd name="T4" fmla="*/ 67 w 76"/>
                  <a:gd name="T5" fmla="*/ 49 h 56"/>
                  <a:gd name="T6" fmla="*/ 50 w 76"/>
                  <a:gd name="T7" fmla="*/ 55 h 56"/>
                  <a:gd name="T8" fmla="*/ 19 w 76"/>
                  <a:gd name="T9" fmla="*/ 53 h 56"/>
                  <a:gd name="T10" fmla="*/ 0 w 76"/>
                  <a:gd name="T11" fmla="*/ 51 h 56"/>
                  <a:gd name="T12" fmla="*/ 0 w 76"/>
                  <a:gd name="T13" fmla="*/ 49 h 56"/>
                  <a:gd name="T14" fmla="*/ 0 w 76"/>
                  <a:gd name="T15" fmla="*/ 36 h 56"/>
                  <a:gd name="T16" fmla="*/ 24 w 76"/>
                  <a:gd name="T17"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6">
                    <a:moveTo>
                      <a:pt x="49" y="0"/>
                    </a:moveTo>
                    <a:cubicBezTo>
                      <a:pt x="58" y="4"/>
                      <a:pt x="66" y="11"/>
                      <a:pt x="70" y="20"/>
                    </a:cubicBezTo>
                    <a:cubicBezTo>
                      <a:pt x="74" y="30"/>
                      <a:pt x="76" y="42"/>
                      <a:pt x="67" y="49"/>
                    </a:cubicBezTo>
                    <a:cubicBezTo>
                      <a:pt x="62" y="53"/>
                      <a:pt x="56" y="54"/>
                      <a:pt x="50" y="55"/>
                    </a:cubicBezTo>
                    <a:cubicBezTo>
                      <a:pt x="40" y="56"/>
                      <a:pt x="29" y="55"/>
                      <a:pt x="19" y="53"/>
                    </a:cubicBezTo>
                    <a:cubicBezTo>
                      <a:pt x="15" y="53"/>
                      <a:pt x="3" y="50"/>
                      <a:pt x="0" y="51"/>
                    </a:cubicBezTo>
                    <a:cubicBezTo>
                      <a:pt x="0" y="50"/>
                      <a:pt x="0" y="49"/>
                      <a:pt x="0" y="49"/>
                    </a:cubicBezTo>
                    <a:cubicBezTo>
                      <a:pt x="0" y="36"/>
                      <a:pt x="0" y="36"/>
                      <a:pt x="0" y="36"/>
                    </a:cubicBezTo>
                    <a:cubicBezTo>
                      <a:pt x="0" y="21"/>
                      <a:pt x="10" y="6"/>
                      <a:pt x="24" y="1"/>
                    </a:cubicBezTo>
                  </a:path>
                </a:pathLst>
              </a:custGeom>
              <a:solidFill>
                <a:srgbClr val="88D5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Oval 109">
                <a:extLst>
                  <a:ext uri="{FF2B5EF4-FFF2-40B4-BE49-F238E27FC236}">
                    <a16:creationId xmlns:a16="http://schemas.microsoft.com/office/drawing/2014/main" id="{70AA3544-2287-43DE-8E9D-B79C5E22C4F8}"/>
                  </a:ext>
                </a:extLst>
              </p:cNvPr>
              <p:cNvSpPr>
                <a:spLocks noChangeArrowheads="1"/>
              </p:cNvSpPr>
              <p:nvPr/>
            </p:nvSpPr>
            <p:spPr bwMode="auto">
              <a:xfrm>
                <a:off x="9650414" y="2325687"/>
                <a:ext cx="149225" cy="184150"/>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10">
                <a:extLst>
                  <a:ext uri="{FF2B5EF4-FFF2-40B4-BE49-F238E27FC236}">
                    <a16:creationId xmlns:a16="http://schemas.microsoft.com/office/drawing/2014/main" id="{1E1E7C22-0766-4B94-AC26-BB5DD646B573}"/>
                  </a:ext>
                </a:extLst>
              </p:cNvPr>
              <p:cNvSpPr>
                <a:spLocks noEditPoints="1"/>
              </p:cNvSpPr>
              <p:nvPr/>
            </p:nvSpPr>
            <p:spPr bwMode="auto">
              <a:xfrm>
                <a:off x="9747251" y="2540000"/>
                <a:ext cx="52388" cy="30163"/>
              </a:xfrm>
              <a:custGeom>
                <a:avLst/>
                <a:gdLst>
                  <a:gd name="T0" fmla="*/ 33 w 33"/>
                  <a:gd name="T1" fmla="*/ 19 h 19"/>
                  <a:gd name="T2" fmla="*/ 0 w 33"/>
                  <a:gd name="T3" fmla="*/ 19 h 19"/>
                  <a:gd name="T4" fmla="*/ 17 w 33"/>
                  <a:gd name="T5" fmla="*/ 0 h 19"/>
                  <a:gd name="T6" fmla="*/ 33 w 33"/>
                  <a:gd name="T7" fmla="*/ 19 h 19"/>
                  <a:gd name="T8" fmla="*/ 12 w 33"/>
                  <a:gd name="T9" fmla="*/ 14 h 19"/>
                  <a:gd name="T10" fmla="*/ 22 w 33"/>
                  <a:gd name="T11" fmla="*/ 14 h 19"/>
                  <a:gd name="T12" fmla="*/ 17 w 33"/>
                  <a:gd name="T13" fmla="*/ 7 h 19"/>
                  <a:gd name="T14" fmla="*/ 12 w 33"/>
                  <a:gd name="T15" fmla="*/ 14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19">
                    <a:moveTo>
                      <a:pt x="33" y="19"/>
                    </a:moveTo>
                    <a:lnTo>
                      <a:pt x="0" y="19"/>
                    </a:lnTo>
                    <a:lnTo>
                      <a:pt x="17" y="0"/>
                    </a:lnTo>
                    <a:lnTo>
                      <a:pt x="33" y="19"/>
                    </a:lnTo>
                    <a:close/>
                    <a:moveTo>
                      <a:pt x="12" y="14"/>
                    </a:moveTo>
                    <a:lnTo>
                      <a:pt x="22" y="14"/>
                    </a:lnTo>
                    <a:lnTo>
                      <a:pt x="17" y="7"/>
                    </a:lnTo>
                    <a:lnTo>
                      <a:pt x="12" y="14"/>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11">
                <a:extLst>
                  <a:ext uri="{FF2B5EF4-FFF2-40B4-BE49-F238E27FC236}">
                    <a16:creationId xmlns:a16="http://schemas.microsoft.com/office/drawing/2014/main" id="{4E89080A-8232-4669-9620-4F0F011940C5}"/>
                  </a:ext>
                </a:extLst>
              </p:cNvPr>
              <p:cNvSpPr>
                <a:spLocks/>
              </p:cNvSpPr>
              <p:nvPr/>
            </p:nvSpPr>
            <p:spPr bwMode="auto">
              <a:xfrm>
                <a:off x="9721851" y="2565400"/>
                <a:ext cx="96838" cy="60325"/>
              </a:xfrm>
              <a:custGeom>
                <a:avLst/>
                <a:gdLst>
                  <a:gd name="T0" fmla="*/ 61 w 61"/>
                  <a:gd name="T1" fmla="*/ 38 h 38"/>
                  <a:gd name="T2" fmla="*/ 0 w 61"/>
                  <a:gd name="T3" fmla="*/ 38 h 38"/>
                  <a:gd name="T4" fmla="*/ 0 w 61"/>
                  <a:gd name="T5" fmla="*/ 0 h 38"/>
                  <a:gd name="T6" fmla="*/ 23 w 61"/>
                  <a:gd name="T7" fmla="*/ 0 h 38"/>
                  <a:gd name="T8" fmla="*/ 61 w 61"/>
                  <a:gd name="T9" fmla="*/ 0 h 38"/>
                  <a:gd name="T10" fmla="*/ 61 w 61"/>
                  <a:gd name="T11" fmla="*/ 38 h 38"/>
                  <a:gd name="T12" fmla="*/ 61 w 61"/>
                  <a:gd name="T13" fmla="*/ 38 h 38"/>
                  <a:gd name="T14" fmla="*/ 61 w 61"/>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38">
                    <a:moveTo>
                      <a:pt x="61" y="38"/>
                    </a:moveTo>
                    <a:lnTo>
                      <a:pt x="0" y="38"/>
                    </a:lnTo>
                    <a:lnTo>
                      <a:pt x="0" y="0"/>
                    </a:lnTo>
                    <a:lnTo>
                      <a:pt x="23" y="0"/>
                    </a:lnTo>
                    <a:lnTo>
                      <a:pt x="61" y="0"/>
                    </a:lnTo>
                    <a:lnTo>
                      <a:pt x="61" y="38"/>
                    </a:lnTo>
                    <a:lnTo>
                      <a:pt x="61" y="38"/>
                    </a:lnTo>
                    <a:lnTo>
                      <a:pt x="61" y="38"/>
                    </a:ln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2" name="Picture Placeholder 11">
            <a:extLst>
              <a:ext uri="{FF2B5EF4-FFF2-40B4-BE49-F238E27FC236}">
                <a16:creationId xmlns:a16="http://schemas.microsoft.com/office/drawing/2014/main" id="{44D057FB-F7CD-4DBB-8F62-54E7690FCA64}"/>
              </a:ext>
            </a:extLst>
          </p:cNvPr>
          <p:cNvSpPr>
            <a:spLocks noGrp="1"/>
          </p:cNvSpPr>
          <p:nvPr>
            <p:ph type="pic" sz="quarter" idx="24"/>
          </p:nvPr>
        </p:nvSpPr>
        <p:spPr>
          <a:xfrm>
            <a:off x="52651" y="84062"/>
            <a:ext cx="1754985" cy="2153372"/>
          </a:xfrm>
          <a:prstGeom prst="roundRect">
            <a:avLst/>
          </a:prstGeom>
          <a:noFill/>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26465824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Conclusion">
    <p:bg>
      <p:bgPr>
        <a:solidFill>
          <a:schemeClr val="accent4"/>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680309"/>
            <a:ext cx="11356975" cy="1495794"/>
          </a:xfrm>
          <a:prstGeom prst="rect">
            <a:avLst/>
          </a:prstGeom>
        </p:spPr>
        <p:txBody>
          <a:bodyPr wrap="square" anchor="ctr" anchorCtr="0">
            <a:spAutoFit/>
          </a:bodyPr>
          <a:lstStyle>
            <a:lvl1pPr marL="0" indent="0" algn="l">
              <a:lnSpc>
                <a:spcPct val="90000"/>
              </a:lnSpc>
              <a:spcBef>
                <a:spcPts val="0"/>
              </a:spcBef>
              <a:spcAft>
                <a:spcPts val="0"/>
              </a:spcAft>
              <a:buFontTx/>
              <a:buNone/>
              <a:defRPr sz="54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insert cover title (sentence case) </a:t>
            </a:r>
            <a:endParaRPr lang="fr-FR"/>
          </a:p>
        </p:txBody>
      </p:sp>
      <p:grpSp>
        <p:nvGrpSpPr>
          <p:cNvPr id="2" name="Group 1">
            <a:extLst>
              <a:ext uri="{FF2B5EF4-FFF2-40B4-BE49-F238E27FC236}">
                <a16:creationId xmlns:a16="http://schemas.microsoft.com/office/drawing/2014/main" id="{D5EC1CE0-E890-6F27-EC37-CCBB63335D47}"/>
              </a:ext>
            </a:extLst>
          </p:cNvPr>
          <p:cNvGrpSpPr>
            <a:grpSpLocks noChangeAspect="1"/>
          </p:cNvGrpSpPr>
          <p:nvPr userDrawn="1"/>
        </p:nvGrpSpPr>
        <p:grpSpPr>
          <a:xfrm>
            <a:off x="443236" y="6021288"/>
            <a:ext cx="1872000" cy="420870"/>
            <a:chOff x="5095385" y="4090756"/>
            <a:chExt cx="3033729" cy="682053"/>
          </a:xfrm>
        </p:grpSpPr>
        <p:sp>
          <p:nvSpPr>
            <p:cNvPr id="6" name="Freeform: Shape 2">
              <a:extLst>
                <a:ext uri="{FF2B5EF4-FFF2-40B4-BE49-F238E27FC236}">
                  <a16:creationId xmlns:a16="http://schemas.microsoft.com/office/drawing/2014/main" id="{FC1EFD8E-6111-C0FE-F23B-7FCABA181AFF}"/>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1" name="Freeform: Shape 3">
              <a:extLst>
                <a:ext uri="{FF2B5EF4-FFF2-40B4-BE49-F238E27FC236}">
                  <a16:creationId xmlns:a16="http://schemas.microsoft.com/office/drawing/2014/main" id="{2E0336C3-FD2D-34F2-37FE-01F1463B9B1A}"/>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4">
              <a:extLst>
                <a:ext uri="{FF2B5EF4-FFF2-40B4-BE49-F238E27FC236}">
                  <a16:creationId xmlns:a16="http://schemas.microsoft.com/office/drawing/2014/main" id="{BCC79B1A-4DEF-2D28-22B2-7BFA7646E1A5}"/>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14">
              <a:extLst>
                <a:ext uri="{FF2B5EF4-FFF2-40B4-BE49-F238E27FC236}">
                  <a16:creationId xmlns:a16="http://schemas.microsoft.com/office/drawing/2014/main" id="{95610CD6-85BD-3AFA-95C6-25178AB66F0D}"/>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4" name="Freeform: Shape 20">
              <a:extLst>
                <a:ext uri="{FF2B5EF4-FFF2-40B4-BE49-F238E27FC236}">
                  <a16:creationId xmlns:a16="http://schemas.microsoft.com/office/drawing/2014/main" id="{DE7326A8-CE97-C71F-CFF8-B35813A22238}"/>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
        <p:nvSpPr>
          <p:cNvPr id="3" name="Graphic 13">
            <a:extLst>
              <a:ext uri="{FF2B5EF4-FFF2-40B4-BE49-F238E27FC236}">
                <a16:creationId xmlns:a16="http://schemas.microsoft.com/office/drawing/2014/main" id="{61626EDA-2290-130F-DAA3-382B176CBFE9}"/>
              </a:ext>
            </a:extLst>
          </p:cNvPr>
          <p:cNvSpPr>
            <a:spLocks noChangeAspect="1"/>
          </p:cNvSpPr>
          <p:nvPr userDrawn="1"/>
        </p:nvSpPr>
        <p:spPr>
          <a:xfrm rot="20991934">
            <a:off x="4304561" y="1503702"/>
            <a:ext cx="8831893" cy="5793514"/>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23000">
                <a:schemeClr val="accent2">
                  <a:alpha val="0"/>
                </a:schemeClr>
              </a:gs>
              <a:gs pos="39000">
                <a:srgbClr val="12ABDB"/>
              </a:gs>
              <a:gs pos="62000">
                <a:srgbClr val="12ABDB"/>
              </a:gs>
              <a:gs pos="73000">
                <a:schemeClr val="accent2"/>
              </a:gs>
            </a:gsLst>
            <a:lin ang="16200000" scaled="0"/>
          </a:gradFill>
          <a:ln w="9525" cap="flat">
            <a:noFill/>
            <a:prstDash val="solid"/>
            <a:miter/>
          </a:ln>
        </p:spPr>
        <p:txBody>
          <a:bodyPr rtlCol="0" anchor="ctr"/>
          <a:lstStyle/>
          <a:p>
            <a:endParaRPr lang="de-DE"/>
          </a:p>
        </p:txBody>
      </p:sp>
    </p:spTree>
    <p:extLst>
      <p:ext uri="{BB962C8B-B14F-4D97-AF65-F5344CB8AC3E}">
        <p14:creationId xmlns:p14="http://schemas.microsoft.com/office/powerpoint/2010/main" val="3774351483"/>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5a">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5" name="Rectangle 4">
            <a:extLst>
              <a:ext uri="{FF2B5EF4-FFF2-40B4-BE49-F238E27FC236}">
                <a16:creationId xmlns:a16="http://schemas.microsoft.com/office/drawing/2014/main" id="{3663E8C7-A7C3-2E16-EA87-611C38BE1ED8}"/>
              </a:ext>
            </a:extLst>
          </p:cNvPr>
          <p:cNvSpPr/>
          <p:nvPr userDrawn="1"/>
        </p:nvSpPr>
        <p:spPr>
          <a:xfrm>
            <a:off x="5159896" y="1916832"/>
            <a:ext cx="7032104" cy="3528392"/>
          </a:xfrm>
          <a:prstGeom prst="rect">
            <a:avLst/>
          </a:prstGeom>
          <a:solidFill>
            <a:schemeClr val="accent4"/>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bg1"/>
                </a:solidFill>
              </a:rPr>
              <a:t>Photo placeholder</a:t>
            </a:r>
          </a:p>
        </p:txBody>
      </p:sp>
      <p:sp>
        <p:nvSpPr>
          <p:cNvPr id="3" name="Graphic 3">
            <a:extLst>
              <a:ext uri="{FF2B5EF4-FFF2-40B4-BE49-F238E27FC236}">
                <a16:creationId xmlns:a16="http://schemas.microsoft.com/office/drawing/2014/main" id="{B230C70A-0D04-8B17-F8AD-B25ADF538F98}"/>
              </a:ext>
            </a:extLst>
          </p:cNvPr>
          <p:cNvSpPr/>
          <p:nvPr userDrawn="1"/>
        </p:nvSpPr>
        <p:spPr>
          <a:xfrm>
            <a:off x="912551" y="764704"/>
            <a:ext cx="11013527" cy="4283932"/>
          </a:xfrm>
          <a:custGeom>
            <a:avLst/>
            <a:gdLst>
              <a:gd name="connsiteX0" fmla="*/ 7439120 w 7439501"/>
              <a:gd name="connsiteY0" fmla="*/ 30480 h 2893743"/>
              <a:gd name="connsiteX1" fmla="*/ 7433310 w 7439501"/>
              <a:gd name="connsiteY1" fmla="*/ 22860 h 2893743"/>
              <a:gd name="connsiteX2" fmla="*/ 7427500 w 7439501"/>
              <a:gd name="connsiteY2" fmla="*/ 15240 h 2893743"/>
              <a:gd name="connsiteX3" fmla="*/ 7421689 w 7439501"/>
              <a:gd name="connsiteY3" fmla="*/ 7620 h 2893743"/>
              <a:gd name="connsiteX4" fmla="*/ 7415879 w 7439501"/>
              <a:gd name="connsiteY4" fmla="*/ 0 h 2893743"/>
              <a:gd name="connsiteX5" fmla="*/ 7328249 w 7439501"/>
              <a:gd name="connsiteY5" fmla="*/ 64484 h 2893743"/>
              <a:gd name="connsiteX6" fmla="*/ 7251668 w 7439501"/>
              <a:gd name="connsiteY6" fmla="*/ 119444 h 2893743"/>
              <a:gd name="connsiteX7" fmla="*/ 7185756 w 7439501"/>
              <a:gd name="connsiteY7" fmla="*/ 164402 h 2893743"/>
              <a:gd name="connsiteX8" fmla="*/ 7131558 w 7439501"/>
              <a:gd name="connsiteY8" fmla="*/ 200692 h 2893743"/>
              <a:gd name="connsiteX9" fmla="*/ 7033356 w 7439501"/>
              <a:gd name="connsiteY9" fmla="*/ 262223 h 2893743"/>
              <a:gd name="connsiteX10" fmla="*/ 6979730 w 7439501"/>
              <a:gd name="connsiteY10" fmla="*/ 293656 h 2893743"/>
              <a:gd name="connsiteX11" fmla="*/ 6925723 w 7439501"/>
              <a:gd name="connsiteY11" fmla="*/ 324422 h 2893743"/>
              <a:gd name="connsiteX12" fmla="*/ 6898767 w 7439501"/>
              <a:gd name="connsiteY12" fmla="*/ 339852 h 2893743"/>
              <a:gd name="connsiteX13" fmla="*/ 6871240 w 7439501"/>
              <a:gd name="connsiteY13" fmla="*/ 354140 h 2893743"/>
              <a:gd name="connsiteX14" fmla="*/ 6815995 w 7439501"/>
              <a:gd name="connsiteY14" fmla="*/ 382429 h 2893743"/>
              <a:gd name="connsiteX15" fmla="*/ 6760274 w 7439501"/>
              <a:gd name="connsiteY15" fmla="*/ 409766 h 2893743"/>
              <a:gd name="connsiteX16" fmla="*/ 6703790 w 7439501"/>
              <a:gd name="connsiteY16" fmla="*/ 435293 h 2893743"/>
              <a:gd name="connsiteX17" fmla="*/ 6589109 w 7439501"/>
              <a:gd name="connsiteY17" fmla="*/ 482346 h 2893743"/>
              <a:gd name="connsiteX18" fmla="*/ 6560249 w 7439501"/>
              <a:gd name="connsiteY18" fmla="*/ 493490 h 2893743"/>
              <a:gd name="connsiteX19" fmla="*/ 6530817 w 7439501"/>
              <a:gd name="connsiteY19" fmla="*/ 503111 h 2893743"/>
              <a:gd name="connsiteX20" fmla="*/ 6472047 w 7439501"/>
              <a:gd name="connsiteY20" fmla="*/ 522446 h 2893743"/>
              <a:gd name="connsiteX21" fmla="*/ 6442329 w 7439501"/>
              <a:gd name="connsiteY21" fmla="*/ 530924 h 2893743"/>
              <a:gd name="connsiteX22" fmla="*/ 6412421 w 7439501"/>
              <a:gd name="connsiteY22" fmla="*/ 538829 h 2893743"/>
              <a:gd name="connsiteX23" fmla="*/ 6382512 w 7439501"/>
              <a:gd name="connsiteY23" fmla="*/ 546735 h 2893743"/>
              <a:gd name="connsiteX24" fmla="*/ 6367558 w 7439501"/>
              <a:gd name="connsiteY24" fmla="*/ 550640 h 2893743"/>
              <a:gd name="connsiteX25" fmla="*/ 6352413 w 7439501"/>
              <a:gd name="connsiteY25" fmla="*/ 553688 h 2893743"/>
              <a:gd name="connsiteX26" fmla="*/ 6291929 w 7439501"/>
              <a:gd name="connsiteY26" fmla="*/ 565595 h 2893743"/>
              <a:gd name="connsiteX27" fmla="*/ 6276785 w 7439501"/>
              <a:gd name="connsiteY27" fmla="*/ 568547 h 2893743"/>
              <a:gd name="connsiteX28" fmla="*/ 6261545 w 7439501"/>
              <a:gd name="connsiteY28" fmla="*/ 570548 h 2893743"/>
              <a:gd name="connsiteX29" fmla="*/ 6230970 w 7439501"/>
              <a:gd name="connsiteY29" fmla="*/ 574453 h 2893743"/>
              <a:gd name="connsiteX30" fmla="*/ 6108383 w 7439501"/>
              <a:gd name="connsiteY30" fmla="*/ 584264 h 2893743"/>
              <a:gd name="connsiteX31" fmla="*/ 6047232 w 7439501"/>
              <a:gd name="connsiteY31" fmla="*/ 583216 h 2893743"/>
              <a:gd name="connsiteX32" fmla="*/ 6031992 w 7439501"/>
              <a:gd name="connsiteY32" fmla="*/ 582930 h 2893743"/>
              <a:gd name="connsiteX33" fmla="*/ 6016752 w 7439501"/>
              <a:gd name="connsiteY33" fmla="*/ 581501 h 2893743"/>
              <a:gd name="connsiteX34" fmla="*/ 5986368 w 7439501"/>
              <a:gd name="connsiteY34" fmla="*/ 578644 h 2893743"/>
              <a:gd name="connsiteX35" fmla="*/ 5955983 w 7439501"/>
              <a:gd name="connsiteY35" fmla="*/ 575501 h 2893743"/>
              <a:gd name="connsiteX36" fmla="*/ 5925979 w 7439501"/>
              <a:gd name="connsiteY36" fmla="*/ 570357 h 2893743"/>
              <a:gd name="connsiteX37" fmla="*/ 5895975 w 7439501"/>
              <a:gd name="connsiteY37" fmla="*/ 565214 h 2893743"/>
              <a:gd name="connsiteX38" fmla="*/ 5866352 w 7439501"/>
              <a:gd name="connsiteY38" fmla="*/ 557975 h 2893743"/>
              <a:gd name="connsiteX39" fmla="*/ 5642324 w 7439501"/>
              <a:gd name="connsiteY39" fmla="*/ 465773 h 2893743"/>
              <a:gd name="connsiteX40" fmla="*/ 5456397 w 7439501"/>
              <a:gd name="connsiteY40" fmla="*/ 310229 h 2893743"/>
              <a:gd name="connsiteX41" fmla="*/ 5382483 w 7439501"/>
              <a:gd name="connsiteY41" fmla="*/ 213551 h 2893743"/>
              <a:gd name="connsiteX42" fmla="*/ 5324475 w 7439501"/>
              <a:gd name="connsiteY42" fmla="*/ 107061 h 2893743"/>
              <a:gd name="connsiteX43" fmla="*/ 5316474 w 7439501"/>
              <a:gd name="connsiteY43" fmla="*/ 88202 h 2893743"/>
              <a:gd name="connsiteX44" fmla="*/ 5305235 w 7439501"/>
              <a:gd name="connsiteY44" fmla="*/ 58484 h 2893743"/>
              <a:gd name="connsiteX45" fmla="*/ 5304854 w 7439501"/>
              <a:gd name="connsiteY45" fmla="*/ 58388 h 2893743"/>
              <a:gd name="connsiteX46" fmla="*/ 5289233 w 7439501"/>
              <a:gd name="connsiteY46" fmla="*/ 55626 h 2893743"/>
              <a:gd name="connsiteX47" fmla="*/ 5281994 w 7439501"/>
              <a:gd name="connsiteY47" fmla="*/ 54388 h 2893743"/>
              <a:gd name="connsiteX48" fmla="*/ 5277898 w 7439501"/>
              <a:gd name="connsiteY48" fmla="*/ 53816 h 2893743"/>
              <a:gd name="connsiteX49" fmla="*/ 5261420 w 7439501"/>
              <a:gd name="connsiteY49" fmla="*/ 51530 h 2893743"/>
              <a:gd name="connsiteX50" fmla="*/ 5228463 w 7439501"/>
              <a:gd name="connsiteY50" fmla="*/ 47625 h 2893743"/>
              <a:gd name="connsiteX51" fmla="*/ 5195507 w 7439501"/>
              <a:gd name="connsiteY51" fmla="*/ 44577 h 2893743"/>
              <a:gd name="connsiteX52" fmla="*/ 5162550 w 7439501"/>
              <a:gd name="connsiteY52" fmla="*/ 42196 h 2893743"/>
              <a:gd name="connsiteX53" fmla="*/ 5129594 w 7439501"/>
              <a:gd name="connsiteY53" fmla="*/ 40576 h 2893743"/>
              <a:gd name="connsiteX54" fmla="*/ 5096542 w 7439501"/>
              <a:gd name="connsiteY54" fmla="*/ 39529 h 2893743"/>
              <a:gd name="connsiteX55" fmla="*/ 5030534 w 7439501"/>
              <a:gd name="connsiteY55" fmla="*/ 38957 h 2893743"/>
              <a:gd name="connsiteX56" fmla="*/ 4975956 w 7439501"/>
              <a:gd name="connsiteY56" fmla="*/ 40386 h 2893743"/>
              <a:gd name="connsiteX57" fmla="*/ 4921377 w 7439501"/>
              <a:gd name="connsiteY57" fmla="*/ 43244 h 2893743"/>
              <a:gd name="connsiteX58" fmla="*/ 4866894 w 7439501"/>
              <a:gd name="connsiteY58" fmla="*/ 47625 h 2893743"/>
              <a:gd name="connsiteX59" fmla="*/ 4812602 w 7439501"/>
              <a:gd name="connsiteY59" fmla="*/ 53435 h 2893743"/>
              <a:gd name="connsiteX60" fmla="*/ 4704588 w 7439501"/>
              <a:gd name="connsiteY60" fmla="*/ 69723 h 2893743"/>
              <a:gd name="connsiteX61" fmla="*/ 4650962 w 7439501"/>
              <a:gd name="connsiteY61" fmla="*/ 80010 h 2893743"/>
              <a:gd name="connsiteX62" fmla="*/ 4597623 w 7439501"/>
              <a:gd name="connsiteY62" fmla="*/ 91726 h 2893743"/>
              <a:gd name="connsiteX63" fmla="*/ 4544568 w 7439501"/>
              <a:gd name="connsiteY63" fmla="*/ 104775 h 2893743"/>
              <a:gd name="connsiteX64" fmla="*/ 4491990 w 7439501"/>
              <a:gd name="connsiteY64" fmla="*/ 119634 h 2893743"/>
              <a:gd name="connsiteX65" fmla="*/ 4439889 w 7439501"/>
              <a:gd name="connsiteY65" fmla="*/ 135922 h 2893743"/>
              <a:gd name="connsiteX66" fmla="*/ 4388168 w 7439501"/>
              <a:gd name="connsiteY66" fmla="*/ 153448 h 2893743"/>
              <a:gd name="connsiteX67" fmla="*/ 4336923 w 7439501"/>
              <a:gd name="connsiteY67" fmla="*/ 172403 h 2893743"/>
              <a:gd name="connsiteX68" fmla="*/ 4286441 w 7439501"/>
              <a:gd name="connsiteY68" fmla="*/ 193167 h 2893743"/>
              <a:gd name="connsiteX69" fmla="*/ 4186904 w 7439501"/>
              <a:gd name="connsiteY69" fmla="*/ 238316 h 2893743"/>
              <a:gd name="connsiteX70" fmla="*/ 4138422 w 7439501"/>
              <a:gd name="connsiteY70" fmla="*/ 263462 h 2893743"/>
              <a:gd name="connsiteX71" fmla="*/ 4090416 w 7439501"/>
              <a:gd name="connsiteY71" fmla="*/ 289560 h 2893743"/>
              <a:gd name="connsiteX72" fmla="*/ 3997071 w 7439501"/>
              <a:gd name="connsiteY72" fmla="*/ 346329 h 2893743"/>
              <a:gd name="connsiteX73" fmla="*/ 3951351 w 7439501"/>
              <a:gd name="connsiteY73" fmla="*/ 376238 h 2893743"/>
              <a:gd name="connsiteX74" fmla="*/ 3907060 w 7439501"/>
              <a:gd name="connsiteY74" fmla="*/ 408146 h 2893743"/>
              <a:gd name="connsiteX75" fmla="*/ 3820573 w 7439501"/>
              <a:gd name="connsiteY75" fmla="*/ 474917 h 2893743"/>
              <a:gd name="connsiteX76" fmla="*/ 3514439 w 7439501"/>
              <a:gd name="connsiteY76" fmla="*/ 785336 h 2893743"/>
              <a:gd name="connsiteX77" fmla="*/ 3514439 w 7439501"/>
              <a:gd name="connsiteY77" fmla="*/ 785527 h 2893743"/>
              <a:gd name="connsiteX78" fmla="*/ 3399377 w 7439501"/>
              <a:gd name="connsiteY78" fmla="*/ 944690 h 2893743"/>
              <a:gd name="connsiteX79" fmla="*/ 3295460 w 7439501"/>
              <a:gd name="connsiteY79" fmla="*/ 1110329 h 2893743"/>
              <a:gd name="connsiteX80" fmla="*/ 3196685 w 7439501"/>
              <a:gd name="connsiteY80" fmla="*/ 1278446 h 2893743"/>
              <a:gd name="connsiteX81" fmla="*/ 3098578 w 7439501"/>
              <a:gd name="connsiteY81" fmla="*/ 1446467 h 2893743"/>
              <a:gd name="connsiteX82" fmla="*/ 2997803 w 7439501"/>
              <a:gd name="connsiteY82" fmla="*/ 1612487 h 2893743"/>
              <a:gd name="connsiteX83" fmla="*/ 2891600 w 7439501"/>
              <a:gd name="connsiteY83" fmla="*/ 1774698 h 2893743"/>
              <a:gd name="connsiteX84" fmla="*/ 2654999 w 7439501"/>
              <a:gd name="connsiteY84" fmla="*/ 2080736 h 2893743"/>
              <a:gd name="connsiteX85" fmla="*/ 2521839 w 7439501"/>
              <a:gd name="connsiteY85" fmla="*/ 2220659 h 2893743"/>
              <a:gd name="connsiteX86" fmla="*/ 2377631 w 7439501"/>
              <a:gd name="connsiteY86" fmla="*/ 2348960 h 2893743"/>
              <a:gd name="connsiteX87" fmla="*/ 2222754 w 7439501"/>
              <a:gd name="connsiteY87" fmla="*/ 2463927 h 2893743"/>
              <a:gd name="connsiteX88" fmla="*/ 2057876 w 7439501"/>
              <a:gd name="connsiteY88" fmla="*/ 2564035 h 2893743"/>
              <a:gd name="connsiteX89" fmla="*/ 1329404 w 7439501"/>
              <a:gd name="connsiteY89" fmla="*/ 2810542 h 2893743"/>
              <a:gd name="connsiteX90" fmla="*/ 685800 w 7439501"/>
              <a:gd name="connsiteY90" fmla="*/ 2854833 h 2893743"/>
              <a:gd name="connsiteX91" fmla="*/ 643128 w 7439501"/>
              <a:gd name="connsiteY91" fmla="*/ 2853404 h 2893743"/>
              <a:gd name="connsiteX92" fmla="*/ 589788 w 7439501"/>
              <a:gd name="connsiteY92" fmla="*/ 2851690 h 2893743"/>
              <a:gd name="connsiteX93" fmla="*/ 515207 w 7439501"/>
              <a:gd name="connsiteY93" fmla="*/ 2847689 h 2893743"/>
              <a:gd name="connsiteX94" fmla="*/ 5715 w 7439501"/>
              <a:gd name="connsiteY94" fmla="*/ 2791873 h 2893743"/>
              <a:gd name="connsiteX95" fmla="*/ 4286 w 7439501"/>
              <a:gd name="connsiteY95" fmla="*/ 2801302 h 2893743"/>
              <a:gd name="connsiteX96" fmla="*/ 2858 w 7439501"/>
              <a:gd name="connsiteY96" fmla="*/ 2810732 h 2893743"/>
              <a:gd name="connsiteX97" fmla="*/ 1429 w 7439501"/>
              <a:gd name="connsiteY97" fmla="*/ 2820162 h 2893743"/>
              <a:gd name="connsiteX98" fmla="*/ 0 w 7439501"/>
              <a:gd name="connsiteY98" fmla="*/ 2829592 h 2893743"/>
              <a:gd name="connsiteX99" fmla="*/ 513112 w 7439501"/>
              <a:gd name="connsiteY99" fmla="*/ 2885789 h 2893743"/>
              <a:gd name="connsiteX100" fmla="*/ 588359 w 7439501"/>
              <a:gd name="connsiteY100" fmla="*/ 2889885 h 2893743"/>
              <a:gd name="connsiteX101" fmla="*/ 642176 w 7439501"/>
              <a:gd name="connsiteY101" fmla="*/ 2891695 h 2893743"/>
              <a:gd name="connsiteX102" fmla="*/ 685229 w 7439501"/>
              <a:gd name="connsiteY102" fmla="*/ 2893124 h 2893743"/>
              <a:gd name="connsiteX103" fmla="*/ 1336072 w 7439501"/>
              <a:gd name="connsiteY103" fmla="*/ 2848356 h 2893743"/>
              <a:gd name="connsiteX104" fmla="*/ 2076355 w 7439501"/>
              <a:gd name="connsiteY104" fmla="*/ 2597753 h 2893743"/>
              <a:gd name="connsiteX105" fmla="*/ 2244185 w 7439501"/>
              <a:gd name="connsiteY105" fmla="*/ 2495836 h 2893743"/>
              <a:gd name="connsiteX106" fmla="*/ 2401919 w 7439501"/>
              <a:gd name="connsiteY106" fmla="*/ 2378869 h 2893743"/>
              <a:gd name="connsiteX107" fmla="*/ 2548604 w 7439501"/>
              <a:gd name="connsiteY107" fmla="*/ 2248376 h 2893743"/>
              <a:gd name="connsiteX108" fmla="*/ 2683859 w 7439501"/>
              <a:gd name="connsiteY108" fmla="*/ 2106359 h 2893743"/>
              <a:gd name="connsiteX109" fmla="*/ 2923318 w 7439501"/>
              <a:gd name="connsiteY109" fmla="*/ 1796606 h 2893743"/>
              <a:gd name="connsiteX110" fmla="*/ 3030379 w 7439501"/>
              <a:gd name="connsiteY110" fmla="*/ 1633061 h 2893743"/>
              <a:gd name="connsiteX111" fmla="*/ 3131630 w 7439501"/>
              <a:gd name="connsiteY111" fmla="*/ 1466183 h 2893743"/>
              <a:gd name="connsiteX112" fmla="*/ 3229928 w 7439501"/>
              <a:gd name="connsiteY112" fmla="*/ 1297972 h 2893743"/>
              <a:gd name="connsiteX113" fmla="*/ 3328416 w 7439501"/>
              <a:gd name="connsiteY113" fmla="*/ 1130332 h 2893743"/>
              <a:gd name="connsiteX114" fmla="*/ 3431381 w 7439501"/>
              <a:gd name="connsiteY114" fmla="*/ 966121 h 2893743"/>
              <a:gd name="connsiteX115" fmla="*/ 3544348 w 7439501"/>
              <a:gd name="connsiteY115" fmla="*/ 809720 h 2893743"/>
              <a:gd name="connsiteX116" fmla="*/ 3544348 w 7439501"/>
              <a:gd name="connsiteY116" fmla="*/ 809530 h 2893743"/>
              <a:gd name="connsiteX117" fmla="*/ 3844957 w 7439501"/>
              <a:gd name="connsiteY117" fmla="*/ 504730 h 2893743"/>
              <a:gd name="connsiteX118" fmla="*/ 3929729 w 7439501"/>
              <a:gd name="connsiteY118" fmla="*/ 439293 h 2893743"/>
              <a:gd name="connsiteX119" fmla="*/ 3973164 w 7439501"/>
              <a:gd name="connsiteY119" fmla="*/ 407956 h 2893743"/>
              <a:gd name="connsiteX120" fmla="*/ 4017931 w 7439501"/>
              <a:gd name="connsiteY120" fmla="*/ 378619 h 2893743"/>
              <a:gd name="connsiteX121" fmla="*/ 4109466 w 7439501"/>
              <a:gd name="connsiteY121" fmla="*/ 322993 h 2893743"/>
              <a:gd name="connsiteX122" fmla="*/ 4156520 w 7439501"/>
              <a:gd name="connsiteY122" fmla="*/ 297371 h 2893743"/>
              <a:gd name="connsiteX123" fmla="*/ 4204050 w 7439501"/>
              <a:gd name="connsiteY123" fmla="*/ 272701 h 2893743"/>
              <a:gd name="connsiteX124" fmla="*/ 4301585 w 7439501"/>
              <a:gd name="connsiteY124" fmla="*/ 228409 h 2893743"/>
              <a:gd name="connsiteX125" fmla="*/ 4351116 w 7439501"/>
              <a:gd name="connsiteY125" fmla="*/ 208026 h 2893743"/>
              <a:gd name="connsiteX126" fmla="*/ 4401312 w 7439501"/>
              <a:gd name="connsiteY126" fmla="*/ 189452 h 2893743"/>
              <a:gd name="connsiteX127" fmla="*/ 4451985 w 7439501"/>
              <a:gd name="connsiteY127" fmla="*/ 172307 h 2893743"/>
              <a:gd name="connsiteX128" fmla="*/ 4503134 w 7439501"/>
              <a:gd name="connsiteY128" fmla="*/ 156305 h 2893743"/>
              <a:gd name="connsiteX129" fmla="*/ 4554665 w 7439501"/>
              <a:gd name="connsiteY129" fmla="*/ 141732 h 2893743"/>
              <a:gd name="connsiteX130" fmla="*/ 4606671 w 7439501"/>
              <a:gd name="connsiteY130" fmla="*/ 128969 h 2893743"/>
              <a:gd name="connsiteX131" fmla="*/ 4658964 w 7439501"/>
              <a:gd name="connsiteY131" fmla="*/ 117539 h 2893743"/>
              <a:gd name="connsiteX132" fmla="*/ 4711542 w 7439501"/>
              <a:gd name="connsiteY132" fmla="*/ 107442 h 2893743"/>
              <a:gd name="connsiteX133" fmla="*/ 4817459 w 7439501"/>
              <a:gd name="connsiteY133" fmla="*/ 91440 h 2893743"/>
              <a:gd name="connsiteX134" fmla="*/ 4870704 w 7439501"/>
              <a:gd name="connsiteY134" fmla="*/ 85725 h 2893743"/>
              <a:gd name="connsiteX135" fmla="*/ 4924140 w 7439501"/>
              <a:gd name="connsiteY135" fmla="*/ 81439 h 2893743"/>
              <a:gd name="connsiteX136" fmla="*/ 4977670 w 7439501"/>
              <a:gd name="connsiteY136" fmla="*/ 78581 h 2893743"/>
              <a:gd name="connsiteX137" fmla="*/ 5031201 w 7439501"/>
              <a:gd name="connsiteY137" fmla="*/ 77153 h 2893743"/>
              <a:gd name="connsiteX138" fmla="*/ 5095875 w 7439501"/>
              <a:gd name="connsiteY138" fmla="*/ 77724 h 2893743"/>
              <a:gd name="connsiteX139" fmla="*/ 5128165 w 7439501"/>
              <a:gd name="connsiteY139" fmla="*/ 78772 h 2893743"/>
              <a:gd name="connsiteX140" fmla="*/ 5160455 w 7439501"/>
              <a:gd name="connsiteY140" fmla="*/ 80391 h 2893743"/>
              <a:gd name="connsiteX141" fmla="*/ 5192649 w 7439501"/>
              <a:gd name="connsiteY141" fmla="*/ 82677 h 2893743"/>
              <a:gd name="connsiteX142" fmla="*/ 5224749 w 7439501"/>
              <a:gd name="connsiteY142" fmla="*/ 85725 h 2893743"/>
              <a:gd name="connsiteX143" fmla="*/ 5256657 w 7439501"/>
              <a:gd name="connsiteY143" fmla="*/ 89535 h 2893743"/>
              <a:gd name="connsiteX144" fmla="*/ 5272469 w 7439501"/>
              <a:gd name="connsiteY144" fmla="*/ 91726 h 2893743"/>
              <a:gd name="connsiteX145" fmla="*/ 5277612 w 7439501"/>
              <a:gd name="connsiteY145" fmla="*/ 92488 h 2893743"/>
              <a:gd name="connsiteX146" fmla="*/ 5277612 w 7439501"/>
              <a:gd name="connsiteY146" fmla="*/ 92488 h 2893743"/>
              <a:gd name="connsiteX147" fmla="*/ 5281327 w 7439501"/>
              <a:gd name="connsiteY147" fmla="*/ 102394 h 2893743"/>
              <a:gd name="connsiteX148" fmla="*/ 5289804 w 7439501"/>
              <a:gd name="connsiteY148" fmla="*/ 122587 h 2893743"/>
              <a:gd name="connsiteX149" fmla="*/ 5350859 w 7439501"/>
              <a:gd name="connsiteY149" fmla="*/ 234601 h 2893743"/>
              <a:gd name="connsiteX150" fmla="*/ 5428107 w 7439501"/>
              <a:gd name="connsiteY150" fmla="*/ 335661 h 2893743"/>
              <a:gd name="connsiteX151" fmla="*/ 5622893 w 7439501"/>
              <a:gd name="connsiteY151" fmla="*/ 498539 h 2893743"/>
              <a:gd name="connsiteX152" fmla="*/ 5857590 w 7439501"/>
              <a:gd name="connsiteY152" fmla="*/ 595217 h 2893743"/>
              <a:gd name="connsiteX153" fmla="*/ 5888546 w 7439501"/>
              <a:gd name="connsiteY153" fmla="*/ 602742 h 2893743"/>
              <a:gd name="connsiteX154" fmla="*/ 5919883 w 7439501"/>
              <a:gd name="connsiteY154" fmla="*/ 608171 h 2893743"/>
              <a:gd name="connsiteX155" fmla="*/ 5951221 w 7439501"/>
              <a:gd name="connsiteY155" fmla="*/ 613505 h 2893743"/>
              <a:gd name="connsiteX156" fmla="*/ 5982843 w 7439501"/>
              <a:gd name="connsiteY156" fmla="*/ 616744 h 2893743"/>
              <a:gd name="connsiteX157" fmla="*/ 6014466 w 7439501"/>
              <a:gd name="connsiteY157" fmla="*/ 619697 h 2893743"/>
              <a:gd name="connsiteX158" fmla="*/ 6030278 w 7439501"/>
              <a:gd name="connsiteY158" fmla="*/ 621125 h 2893743"/>
              <a:gd name="connsiteX159" fmla="*/ 6046089 w 7439501"/>
              <a:gd name="connsiteY159" fmla="*/ 621411 h 2893743"/>
              <a:gd name="connsiteX160" fmla="*/ 6109526 w 7439501"/>
              <a:gd name="connsiteY160" fmla="*/ 622459 h 2893743"/>
              <a:gd name="connsiteX161" fmla="*/ 6236113 w 7439501"/>
              <a:gd name="connsiteY161" fmla="*/ 612362 h 2893743"/>
              <a:gd name="connsiteX162" fmla="*/ 6267545 w 7439501"/>
              <a:gd name="connsiteY162" fmla="*/ 608362 h 2893743"/>
              <a:gd name="connsiteX163" fmla="*/ 6283262 w 7439501"/>
              <a:gd name="connsiteY163" fmla="*/ 606266 h 2893743"/>
              <a:gd name="connsiteX164" fmla="*/ 6298788 w 7439501"/>
              <a:gd name="connsiteY164" fmla="*/ 603218 h 2893743"/>
              <a:gd name="connsiteX165" fmla="*/ 6360986 w 7439501"/>
              <a:gd name="connsiteY165" fmla="*/ 591026 h 2893743"/>
              <a:gd name="connsiteX166" fmla="*/ 6376511 w 7439501"/>
              <a:gd name="connsiteY166" fmla="*/ 587883 h 2893743"/>
              <a:gd name="connsiteX167" fmla="*/ 6391847 w 7439501"/>
              <a:gd name="connsiteY167" fmla="*/ 583883 h 2893743"/>
              <a:gd name="connsiteX168" fmla="*/ 6422422 w 7439501"/>
              <a:gd name="connsiteY168" fmla="*/ 575882 h 2893743"/>
              <a:gd name="connsiteX169" fmla="*/ 6452997 w 7439501"/>
              <a:gd name="connsiteY169" fmla="*/ 567785 h 2893743"/>
              <a:gd name="connsiteX170" fmla="*/ 6483382 w 7439501"/>
              <a:gd name="connsiteY170" fmla="*/ 559118 h 2893743"/>
              <a:gd name="connsiteX171" fmla="*/ 6543390 w 7439501"/>
              <a:gd name="connsiteY171" fmla="*/ 539401 h 2893743"/>
              <a:gd name="connsiteX172" fmla="*/ 6573393 w 7439501"/>
              <a:gd name="connsiteY172" fmla="*/ 529590 h 2893743"/>
              <a:gd name="connsiteX173" fmla="*/ 6602826 w 7439501"/>
              <a:gd name="connsiteY173" fmla="*/ 518255 h 2893743"/>
              <a:gd name="connsiteX174" fmla="*/ 6719507 w 7439501"/>
              <a:gd name="connsiteY174" fmla="*/ 470440 h 2893743"/>
              <a:gd name="connsiteX175" fmla="*/ 6776943 w 7439501"/>
              <a:gd name="connsiteY175" fmla="*/ 444437 h 2893743"/>
              <a:gd name="connsiteX176" fmla="*/ 6833426 w 7439501"/>
              <a:gd name="connsiteY176" fmla="*/ 416719 h 2893743"/>
              <a:gd name="connsiteX177" fmla="*/ 6889433 w 7439501"/>
              <a:gd name="connsiteY177" fmla="*/ 388049 h 2893743"/>
              <a:gd name="connsiteX178" fmla="*/ 6917341 w 7439501"/>
              <a:gd name="connsiteY178" fmla="*/ 373571 h 2893743"/>
              <a:gd name="connsiteX179" fmla="*/ 6944678 w 7439501"/>
              <a:gd name="connsiteY179" fmla="*/ 358045 h 2893743"/>
              <a:gd name="connsiteX180" fmla="*/ 6999256 w 7439501"/>
              <a:gd name="connsiteY180" fmla="*/ 326898 h 2893743"/>
              <a:gd name="connsiteX181" fmla="*/ 7053453 w 7439501"/>
              <a:gd name="connsiteY181" fmla="*/ 295085 h 2893743"/>
              <a:gd name="connsiteX182" fmla="*/ 7152704 w 7439501"/>
              <a:gd name="connsiteY182" fmla="*/ 232886 h 2893743"/>
              <a:gd name="connsiteX183" fmla="*/ 7207472 w 7439501"/>
              <a:gd name="connsiteY183" fmla="*/ 196310 h 2893743"/>
              <a:gd name="connsiteX184" fmla="*/ 7273957 w 7439501"/>
              <a:gd name="connsiteY184" fmla="*/ 150971 h 2893743"/>
              <a:gd name="connsiteX185" fmla="*/ 7351205 w 7439501"/>
              <a:gd name="connsiteY185" fmla="*/ 95631 h 2893743"/>
              <a:gd name="connsiteX186" fmla="*/ 7439502 w 7439501"/>
              <a:gd name="connsiteY186" fmla="*/ 30671 h 2893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7439501" h="2893743">
                <a:moveTo>
                  <a:pt x="7439120" y="30480"/>
                </a:moveTo>
                <a:lnTo>
                  <a:pt x="7433310" y="22860"/>
                </a:lnTo>
                <a:lnTo>
                  <a:pt x="7427500" y="15240"/>
                </a:lnTo>
                <a:lnTo>
                  <a:pt x="7421689" y="7620"/>
                </a:lnTo>
                <a:lnTo>
                  <a:pt x="7415879" y="0"/>
                </a:lnTo>
                <a:cubicBezTo>
                  <a:pt x="7384733" y="22955"/>
                  <a:pt x="7355491" y="44387"/>
                  <a:pt x="7328249" y="64484"/>
                </a:cubicBezTo>
                <a:cubicBezTo>
                  <a:pt x="7300913" y="84487"/>
                  <a:pt x="7275862" y="103537"/>
                  <a:pt x="7251668" y="119444"/>
                </a:cubicBezTo>
                <a:cubicBezTo>
                  <a:pt x="7227665" y="135731"/>
                  <a:pt x="7205758" y="150781"/>
                  <a:pt x="7185756" y="164402"/>
                </a:cubicBezTo>
                <a:cubicBezTo>
                  <a:pt x="7165658" y="177832"/>
                  <a:pt x="7148132" y="190691"/>
                  <a:pt x="7131558" y="200692"/>
                </a:cubicBezTo>
                <a:cubicBezTo>
                  <a:pt x="7066122" y="241745"/>
                  <a:pt x="7033356" y="262223"/>
                  <a:pt x="7033356" y="262223"/>
                </a:cubicBezTo>
                <a:cubicBezTo>
                  <a:pt x="7016020" y="273558"/>
                  <a:pt x="6997637" y="283274"/>
                  <a:pt x="6979730" y="293656"/>
                </a:cubicBezTo>
                <a:cubicBezTo>
                  <a:pt x="6961727" y="303943"/>
                  <a:pt x="6943725" y="314135"/>
                  <a:pt x="6925723" y="324422"/>
                </a:cubicBezTo>
                <a:lnTo>
                  <a:pt x="6898767" y="339852"/>
                </a:lnTo>
                <a:cubicBezTo>
                  <a:pt x="6889718" y="344805"/>
                  <a:pt x="6880384" y="349377"/>
                  <a:pt x="6871240" y="354140"/>
                </a:cubicBezTo>
                <a:cubicBezTo>
                  <a:pt x="6852857" y="363569"/>
                  <a:pt x="6834378" y="372999"/>
                  <a:pt x="6815995" y="382429"/>
                </a:cubicBezTo>
                <a:cubicBezTo>
                  <a:pt x="6797517" y="391763"/>
                  <a:pt x="6779324" y="401669"/>
                  <a:pt x="6760274" y="409766"/>
                </a:cubicBezTo>
                <a:lnTo>
                  <a:pt x="6703790" y="435293"/>
                </a:lnTo>
                <a:cubicBezTo>
                  <a:pt x="6666452" y="453295"/>
                  <a:pt x="6627496" y="466916"/>
                  <a:pt x="6589109" y="482346"/>
                </a:cubicBezTo>
                <a:cubicBezTo>
                  <a:pt x="6579489" y="486061"/>
                  <a:pt x="6569964" y="490061"/>
                  <a:pt x="6560249" y="493490"/>
                </a:cubicBezTo>
                <a:lnTo>
                  <a:pt x="6530817" y="503111"/>
                </a:lnTo>
                <a:lnTo>
                  <a:pt x="6472047" y="522446"/>
                </a:lnTo>
                <a:cubicBezTo>
                  <a:pt x="6462332" y="525971"/>
                  <a:pt x="6452235" y="528257"/>
                  <a:pt x="6442329" y="530924"/>
                </a:cubicBezTo>
                <a:lnTo>
                  <a:pt x="6412421" y="538829"/>
                </a:lnTo>
                <a:lnTo>
                  <a:pt x="6382512" y="546735"/>
                </a:lnTo>
                <a:lnTo>
                  <a:pt x="6367558" y="550640"/>
                </a:lnTo>
                <a:cubicBezTo>
                  <a:pt x="6362510" y="551783"/>
                  <a:pt x="6357461" y="552641"/>
                  <a:pt x="6352413" y="553688"/>
                </a:cubicBezTo>
                <a:lnTo>
                  <a:pt x="6291929" y="565595"/>
                </a:lnTo>
                <a:lnTo>
                  <a:pt x="6276785" y="568547"/>
                </a:lnTo>
                <a:cubicBezTo>
                  <a:pt x="6271736" y="569309"/>
                  <a:pt x="6266593" y="569881"/>
                  <a:pt x="6261545" y="570548"/>
                </a:cubicBezTo>
                <a:lnTo>
                  <a:pt x="6230970" y="574453"/>
                </a:lnTo>
                <a:cubicBezTo>
                  <a:pt x="6190298" y="580930"/>
                  <a:pt x="6149340" y="581692"/>
                  <a:pt x="6108383" y="584264"/>
                </a:cubicBezTo>
                <a:lnTo>
                  <a:pt x="6047232" y="583216"/>
                </a:lnTo>
                <a:lnTo>
                  <a:pt x="6031992" y="582930"/>
                </a:lnTo>
                <a:lnTo>
                  <a:pt x="6016752" y="581501"/>
                </a:lnTo>
                <a:lnTo>
                  <a:pt x="5986368" y="578644"/>
                </a:lnTo>
                <a:cubicBezTo>
                  <a:pt x="5976271" y="577596"/>
                  <a:pt x="5966079" y="577025"/>
                  <a:pt x="5955983" y="575501"/>
                </a:cubicBezTo>
                <a:lnTo>
                  <a:pt x="5925979" y="570357"/>
                </a:lnTo>
                <a:lnTo>
                  <a:pt x="5895975" y="565214"/>
                </a:lnTo>
                <a:cubicBezTo>
                  <a:pt x="5885974" y="563309"/>
                  <a:pt x="5876258" y="560356"/>
                  <a:pt x="5866352" y="557975"/>
                </a:cubicBezTo>
                <a:cubicBezTo>
                  <a:pt x="5787486" y="538829"/>
                  <a:pt x="5711571" y="507778"/>
                  <a:pt x="5642324" y="465773"/>
                </a:cubicBezTo>
                <a:cubicBezTo>
                  <a:pt x="5573078" y="423672"/>
                  <a:pt x="5510022" y="371285"/>
                  <a:pt x="5456397" y="310229"/>
                </a:cubicBezTo>
                <a:cubicBezTo>
                  <a:pt x="5429536" y="279749"/>
                  <a:pt x="5404961" y="247364"/>
                  <a:pt x="5382483" y="213551"/>
                </a:cubicBezTo>
                <a:cubicBezTo>
                  <a:pt x="5360575" y="179451"/>
                  <a:pt x="5340668" y="143923"/>
                  <a:pt x="5324475" y="107061"/>
                </a:cubicBezTo>
                <a:cubicBezTo>
                  <a:pt x="5321808" y="100775"/>
                  <a:pt x="5318760" y="94583"/>
                  <a:pt x="5316474" y="88202"/>
                </a:cubicBezTo>
                <a:lnTo>
                  <a:pt x="5305235" y="58484"/>
                </a:lnTo>
                <a:cubicBezTo>
                  <a:pt x="5305235" y="58484"/>
                  <a:pt x="5305044" y="58484"/>
                  <a:pt x="5304854" y="58388"/>
                </a:cubicBezTo>
                <a:lnTo>
                  <a:pt x="5289233" y="55626"/>
                </a:lnTo>
                <a:lnTo>
                  <a:pt x="5281994" y="54388"/>
                </a:lnTo>
                <a:lnTo>
                  <a:pt x="5277898" y="53816"/>
                </a:lnTo>
                <a:lnTo>
                  <a:pt x="5261420" y="51530"/>
                </a:lnTo>
                <a:cubicBezTo>
                  <a:pt x="5250466" y="50006"/>
                  <a:pt x="5239417" y="48863"/>
                  <a:pt x="5228463" y="47625"/>
                </a:cubicBezTo>
                <a:cubicBezTo>
                  <a:pt x="5217509" y="46387"/>
                  <a:pt x="5206461" y="45530"/>
                  <a:pt x="5195507" y="44577"/>
                </a:cubicBezTo>
                <a:lnTo>
                  <a:pt x="5162550" y="42196"/>
                </a:lnTo>
                <a:lnTo>
                  <a:pt x="5129594" y="40576"/>
                </a:lnTo>
                <a:cubicBezTo>
                  <a:pt x="5118640" y="39910"/>
                  <a:pt x="5107591" y="39910"/>
                  <a:pt x="5096542" y="39529"/>
                </a:cubicBezTo>
                <a:cubicBezTo>
                  <a:pt x="5074539" y="38767"/>
                  <a:pt x="5052536" y="39148"/>
                  <a:pt x="5030534" y="38957"/>
                </a:cubicBezTo>
                <a:lnTo>
                  <a:pt x="4975956" y="40386"/>
                </a:lnTo>
                <a:cubicBezTo>
                  <a:pt x="4957763" y="41339"/>
                  <a:pt x="4939570" y="42101"/>
                  <a:pt x="4921377" y="43244"/>
                </a:cubicBezTo>
                <a:lnTo>
                  <a:pt x="4866894" y="47625"/>
                </a:lnTo>
                <a:lnTo>
                  <a:pt x="4812602" y="53435"/>
                </a:lnTo>
                <a:cubicBezTo>
                  <a:pt x="4776502" y="58198"/>
                  <a:pt x="4740402" y="63151"/>
                  <a:pt x="4704588" y="69723"/>
                </a:cubicBezTo>
                <a:cubicBezTo>
                  <a:pt x="4686586" y="72581"/>
                  <a:pt x="4668774" y="76295"/>
                  <a:pt x="4650962" y="80010"/>
                </a:cubicBezTo>
                <a:cubicBezTo>
                  <a:pt x="4633151" y="83725"/>
                  <a:pt x="4615244" y="87154"/>
                  <a:pt x="4597623" y="91726"/>
                </a:cubicBezTo>
                <a:lnTo>
                  <a:pt x="4544568" y="104775"/>
                </a:lnTo>
                <a:lnTo>
                  <a:pt x="4491990" y="119634"/>
                </a:lnTo>
                <a:cubicBezTo>
                  <a:pt x="4474369" y="124301"/>
                  <a:pt x="4457224" y="130397"/>
                  <a:pt x="4439889" y="135922"/>
                </a:cubicBezTo>
                <a:cubicBezTo>
                  <a:pt x="4422648" y="141732"/>
                  <a:pt x="4405122" y="146780"/>
                  <a:pt x="4388168" y="153448"/>
                </a:cubicBezTo>
                <a:cubicBezTo>
                  <a:pt x="4371118" y="159734"/>
                  <a:pt x="4353973" y="166116"/>
                  <a:pt x="4336923" y="172403"/>
                </a:cubicBezTo>
                <a:cubicBezTo>
                  <a:pt x="4319874" y="178880"/>
                  <a:pt x="4303300" y="186309"/>
                  <a:pt x="4286441" y="193167"/>
                </a:cubicBezTo>
                <a:cubicBezTo>
                  <a:pt x="4252532" y="206597"/>
                  <a:pt x="4220051" y="223171"/>
                  <a:pt x="4186904" y="238316"/>
                </a:cubicBezTo>
                <a:cubicBezTo>
                  <a:pt x="4170522" y="246221"/>
                  <a:pt x="4154615" y="255080"/>
                  <a:pt x="4138422" y="263462"/>
                </a:cubicBezTo>
                <a:cubicBezTo>
                  <a:pt x="4122325" y="272034"/>
                  <a:pt x="4105942" y="280035"/>
                  <a:pt x="4090416" y="289560"/>
                </a:cubicBezTo>
                <a:cubicBezTo>
                  <a:pt x="4058984" y="308039"/>
                  <a:pt x="4027170" y="325850"/>
                  <a:pt x="3997071" y="346329"/>
                </a:cubicBezTo>
                <a:cubicBezTo>
                  <a:pt x="3981831" y="356330"/>
                  <a:pt x="3966401" y="366046"/>
                  <a:pt x="3951351" y="376238"/>
                </a:cubicBezTo>
                <a:cubicBezTo>
                  <a:pt x="3936587" y="386906"/>
                  <a:pt x="3921824" y="397478"/>
                  <a:pt x="3907060" y="408146"/>
                </a:cubicBezTo>
                <a:cubicBezTo>
                  <a:pt x="3877056" y="428816"/>
                  <a:pt x="3849243" y="452438"/>
                  <a:pt x="3820573" y="474917"/>
                </a:cubicBezTo>
                <a:cubicBezTo>
                  <a:pt x="3707702" y="567023"/>
                  <a:pt x="3605308" y="671703"/>
                  <a:pt x="3514439" y="785336"/>
                </a:cubicBezTo>
                <a:lnTo>
                  <a:pt x="3514439" y="785527"/>
                </a:lnTo>
                <a:cubicBezTo>
                  <a:pt x="3473291" y="836866"/>
                  <a:pt x="3435477" y="890302"/>
                  <a:pt x="3399377" y="944690"/>
                </a:cubicBezTo>
                <a:cubicBezTo>
                  <a:pt x="3363278" y="999173"/>
                  <a:pt x="3328988" y="1054608"/>
                  <a:pt x="3295460" y="1110329"/>
                </a:cubicBezTo>
                <a:cubicBezTo>
                  <a:pt x="3261932" y="1166146"/>
                  <a:pt x="3229261" y="1222248"/>
                  <a:pt x="3196685" y="1278446"/>
                </a:cubicBezTo>
                <a:cubicBezTo>
                  <a:pt x="3164015" y="1334453"/>
                  <a:pt x="3131249" y="1390460"/>
                  <a:pt x="3098578" y="1446467"/>
                </a:cubicBezTo>
                <a:cubicBezTo>
                  <a:pt x="3065526" y="1502188"/>
                  <a:pt x="3032189" y="1557719"/>
                  <a:pt x="2997803" y="1612487"/>
                </a:cubicBezTo>
                <a:cubicBezTo>
                  <a:pt x="2963418" y="1667256"/>
                  <a:pt x="2928080" y="1721453"/>
                  <a:pt x="2891600" y="1774698"/>
                </a:cubicBezTo>
                <a:cubicBezTo>
                  <a:pt x="2818733" y="1881378"/>
                  <a:pt x="2740247" y="1984058"/>
                  <a:pt x="2654999" y="2080736"/>
                </a:cubicBezTo>
                <a:cubicBezTo>
                  <a:pt x="2612231" y="2128933"/>
                  <a:pt x="2567845" y="2175701"/>
                  <a:pt x="2521839" y="2220659"/>
                </a:cubicBezTo>
                <a:cubicBezTo>
                  <a:pt x="2475452" y="2265331"/>
                  <a:pt x="2427351" y="2308098"/>
                  <a:pt x="2377631" y="2348960"/>
                </a:cubicBezTo>
                <a:cubicBezTo>
                  <a:pt x="2327720" y="2389537"/>
                  <a:pt x="2275808" y="2427637"/>
                  <a:pt x="2222754" y="2463927"/>
                </a:cubicBezTo>
                <a:cubicBezTo>
                  <a:pt x="2169224" y="2499646"/>
                  <a:pt x="2114264" y="2532983"/>
                  <a:pt x="2057876" y="2564035"/>
                </a:cubicBezTo>
                <a:cubicBezTo>
                  <a:pt x="1831848" y="2687288"/>
                  <a:pt x="1583436" y="2767108"/>
                  <a:pt x="1329404" y="2810542"/>
                </a:cubicBezTo>
                <a:cubicBezTo>
                  <a:pt x="1117283" y="2847308"/>
                  <a:pt x="901160" y="2858357"/>
                  <a:pt x="685800" y="2854833"/>
                </a:cubicBezTo>
                <a:lnTo>
                  <a:pt x="643128" y="2853404"/>
                </a:lnTo>
                <a:lnTo>
                  <a:pt x="589788" y="2851690"/>
                </a:lnTo>
                <a:cubicBezTo>
                  <a:pt x="568452" y="2850928"/>
                  <a:pt x="543592" y="2849213"/>
                  <a:pt x="515207" y="2847689"/>
                </a:cubicBezTo>
                <a:cubicBezTo>
                  <a:pt x="401574" y="2840927"/>
                  <a:pt x="231077" y="2826544"/>
                  <a:pt x="5715" y="2791873"/>
                </a:cubicBezTo>
                <a:lnTo>
                  <a:pt x="4286" y="2801302"/>
                </a:lnTo>
                <a:lnTo>
                  <a:pt x="2858" y="2810732"/>
                </a:lnTo>
                <a:lnTo>
                  <a:pt x="1429" y="2820162"/>
                </a:lnTo>
                <a:lnTo>
                  <a:pt x="0" y="2829592"/>
                </a:lnTo>
                <a:cubicBezTo>
                  <a:pt x="226790" y="2864549"/>
                  <a:pt x="398621" y="2879027"/>
                  <a:pt x="513112" y="2885789"/>
                </a:cubicBezTo>
                <a:cubicBezTo>
                  <a:pt x="541782" y="2887313"/>
                  <a:pt x="566833" y="2889123"/>
                  <a:pt x="588359" y="2889885"/>
                </a:cubicBezTo>
                <a:lnTo>
                  <a:pt x="642176" y="2891695"/>
                </a:lnTo>
                <a:lnTo>
                  <a:pt x="685229" y="2893124"/>
                </a:lnTo>
                <a:cubicBezTo>
                  <a:pt x="902684" y="2896648"/>
                  <a:pt x="1121093" y="2885599"/>
                  <a:pt x="1336072" y="2848356"/>
                </a:cubicBezTo>
                <a:cubicBezTo>
                  <a:pt x="1593533" y="2804446"/>
                  <a:pt x="1846136" y="2723293"/>
                  <a:pt x="2076355" y="2597753"/>
                </a:cubicBezTo>
                <a:cubicBezTo>
                  <a:pt x="2133695" y="2566131"/>
                  <a:pt x="2189798" y="2532126"/>
                  <a:pt x="2244185" y="2495836"/>
                </a:cubicBezTo>
                <a:cubicBezTo>
                  <a:pt x="2298287" y="2458974"/>
                  <a:pt x="2351056" y="2420112"/>
                  <a:pt x="2401919" y="2378869"/>
                </a:cubicBezTo>
                <a:cubicBezTo>
                  <a:pt x="2452497" y="2337340"/>
                  <a:pt x="2501456" y="2293811"/>
                  <a:pt x="2548604" y="2248376"/>
                </a:cubicBezTo>
                <a:cubicBezTo>
                  <a:pt x="2595467" y="2202656"/>
                  <a:pt x="2640521" y="2155222"/>
                  <a:pt x="2683859" y="2106359"/>
                </a:cubicBezTo>
                <a:cubicBezTo>
                  <a:pt x="2770251" y="2008251"/>
                  <a:pt x="2849690" y="1904238"/>
                  <a:pt x="2923318" y="1796606"/>
                </a:cubicBezTo>
                <a:cubicBezTo>
                  <a:pt x="2960180" y="1742789"/>
                  <a:pt x="2995803" y="1688211"/>
                  <a:pt x="3030379" y="1633061"/>
                </a:cubicBezTo>
                <a:cubicBezTo>
                  <a:pt x="3064955" y="1577912"/>
                  <a:pt x="3098578" y="1522190"/>
                  <a:pt x="3131630" y="1466183"/>
                </a:cubicBezTo>
                <a:cubicBezTo>
                  <a:pt x="3164396" y="1410081"/>
                  <a:pt x="3197162" y="1353979"/>
                  <a:pt x="3229928" y="1297972"/>
                </a:cubicBezTo>
                <a:cubicBezTo>
                  <a:pt x="3262503" y="1241870"/>
                  <a:pt x="3295174" y="1185863"/>
                  <a:pt x="3328416" y="1130332"/>
                </a:cubicBezTo>
                <a:cubicBezTo>
                  <a:pt x="3361754" y="1074896"/>
                  <a:pt x="3395758" y="1019842"/>
                  <a:pt x="3431381" y="966121"/>
                </a:cubicBezTo>
                <a:cubicBezTo>
                  <a:pt x="3467005" y="912400"/>
                  <a:pt x="3504248" y="859822"/>
                  <a:pt x="3544348" y="809720"/>
                </a:cubicBezTo>
                <a:lnTo>
                  <a:pt x="3544348" y="809530"/>
                </a:lnTo>
                <a:cubicBezTo>
                  <a:pt x="3633788" y="697802"/>
                  <a:pt x="3734372" y="595122"/>
                  <a:pt x="3844957" y="504730"/>
                </a:cubicBezTo>
                <a:cubicBezTo>
                  <a:pt x="3873056" y="482727"/>
                  <a:pt x="3900297" y="459486"/>
                  <a:pt x="3929729" y="439293"/>
                </a:cubicBezTo>
                <a:cubicBezTo>
                  <a:pt x="3944207" y="428816"/>
                  <a:pt x="3958685" y="418433"/>
                  <a:pt x="3973164" y="407956"/>
                </a:cubicBezTo>
                <a:cubicBezTo>
                  <a:pt x="3987927" y="397954"/>
                  <a:pt x="4003072" y="388429"/>
                  <a:pt x="4017931" y="378619"/>
                </a:cubicBezTo>
                <a:cubicBezTo>
                  <a:pt x="4047458" y="358521"/>
                  <a:pt x="4078700" y="341090"/>
                  <a:pt x="4109466" y="322993"/>
                </a:cubicBezTo>
                <a:cubicBezTo>
                  <a:pt x="4124706" y="313658"/>
                  <a:pt x="4140708" y="305848"/>
                  <a:pt x="4156520" y="297371"/>
                </a:cubicBezTo>
                <a:cubicBezTo>
                  <a:pt x="4172331" y="289179"/>
                  <a:pt x="4187952" y="280511"/>
                  <a:pt x="4204050" y="272701"/>
                </a:cubicBezTo>
                <a:cubicBezTo>
                  <a:pt x="4236530" y="257842"/>
                  <a:pt x="4268343" y="241554"/>
                  <a:pt x="4301585" y="228409"/>
                </a:cubicBezTo>
                <a:cubicBezTo>
                  <a:pt x="4318064" y="221647"/>
                  <a:pt x="4334447" y="214408"/>
                  <a:pt x="4351116" y="208026"/>
                </a:cubicBezTo>
                <a:cubicBezTo>
                  <a:pt x="4367879" y="201835"/>
                  <a:pt x="4384643" y="195644"/>
                  <a:pt x="4401312" y="189452"/>
                </a:cubicBezTo>
                <a:cubicBezTo>
                  <a:pt x="4417981" y="182975"/>
                  <a:pt x="4435126" y="177927"/>
                  <a:pt x="4451985" y="172307"/>
                </a:cubicBezTo>
                <a:cubicBezTo>
                  <a:pt x="4469035" y="166878"/>
                  <a:pt x="4485799" y="160877"/>
                  <a:pt x="4503134" y="156305"/>
                </a:cubicBezTo>
                <a:lnTo>
                  <a:pt x="4554665" y="141732"/>
                </a:lnTo>
                <a:lnTo>
                  <a:pt x="4606671" y="128969"/>
                </a:lnTo>
                <a:cubicBezTo>
                  <a:pt x="4623911" y="124492"/>
                  <a:pt x="4641533" y="121158"/>
                  <a:pt x="4658964" y="117539"/>
                </a:cubicBezTo>
                <a:cubicBezTo>
                  <a:pt x="4676394" y="113824"/>
                  <a:pt x="4693920" y="110204"/>
                  <a:pt x="4711542" y="107442"/>
                </a:cubicBezTo>
                <a:cubicBezTo>
                  <a:pt x="4746689" y="100965"/>
                  <a:pt x="4782026" y="96107"/>
                  <a:pt x="4817459" y="91440"/>
                </a:cubicBezTo>
                <a:lnTo>
                  <a:pt x="4870704" y="85725"/>
                </a:lnTo>
                <a:lnTo>
                  <a:pt x="4924140" y="81439"/>
                </a:lnTo>
                <a:cubicBezTo>
                  <a:pt x="4941951" y="80296"/>
                  <a:pt x="4959763" y="79534"/>
                  <a:pt x="4977670" y="78581"/>
                </a:cubicBezTo>
                <a:lnTo>
                  <a:pt x="5031201" y="77153"/>
                </a:lnTo>
                <a:cubicBezTo>
                  <a:pt x="5052727" y="77248"/>
                  <a:pt x="5074349" y="76867"/>
                  <a:pt x="5095875" y="77724"/>
                </a:cubicBezTo>
                <a:cubicBezTo>
                  <a:pt x="5106638" y="78010"/>
                  <a:pt x="5117402" y="78105"/>
                  <a:pt x="5128165" y="78772"/>
                </a:cubicBezTo>
                <a:lnTo>
                  <a:pt x="5160455" y="80391"/>
                </a:lnTo>
                <a:lnTo>
                  <a:pt x="5192649" y="82677"/>
                </a:lnTo>
                <a:cubicBezTo>
                  <a:pt x="5203317" y="83725"/>
                  <a:pt x="5214081" y="84487"/>
                  <a:pt x="5224749" y="85725"/>
                </a:cubicBezTo>
                <a:cubicBezTo>
                  <a:pt x="5235417" y="86868"/>
                  <a:pt x="5246084" y="88011"/>
                  <a:pt x="5256657" y="89535"/>
                </a:cubicBezTo>
                <a:lnTo>
                  <a:pt x="5272469" y="91726"/>
                </a:lnTo>
                <a:lnTo>
                  <a:pt x="5277612" y="92488"/>
                </a:lnTo>
                <a:lnTo>
                  <a:pt x="5277612" y="92488"/>
                </a:lnTo>
                <a:cubicBezTo>
                  <a:pt x="5278851" y="95726"/>
                  <a:pt x="5280089" y="99060"/>
                  <a:pt x="5281327" y="102394"/>
                </a:cubicBezTo>
                <a:cubicBezTo>
                  <a:pt x="5283804" y="109347"/>
                  <a:pt x="5287042" y="115824"/>
                  <a:pt x="5289804" y="122587"/>
                </a:cubicBezTo>
                <a:cubicBezTo>
                  <a:pt x="5307045" y="161734"/>
                  <a:pt x="5327904" y="198882"/>
                  <a:pt x="5350859" y="234601"/>
                </a:cubicBezTo>
                <a:cubicBezTo>
                  <a:pt x="5374387" y="269939"/>
                  <a:pt x="5400008" y="303848"/>
                  <a:pt x="5428107" y="335661"/>
                </a:cubicBezTo>
                <a:cubicBezTo>
                  <a:pt x="5484209" y="399383"/>
                  <a:pt x="5550313" y="454343"/>
                  <a:pt x="5622893" y="498539"/>
                </a:cubicBezTo>
                <a:cubicBezTo>
                  <a:pt x="5695569" y="542639"/>
                  <a:pt x="5775198" y="575120"/>
                  <a:pt x="5857590" y="595217"/>
                </a:cubicBezTo>
                <a:cubicBezTo>
                  <a:pt x="5867877" y="597694"/>
                  <a:pt x="5878068" y="600742"/>
                  <a:pt x="5888546" y="602742"/>
                </a:cubicBezTo>
                <a:lnTo>
                  <a:pt x="5919883" y="608171"/>
                </a:lnTo>
                <a:lnTo>
                  <a:pt x="5951221" y="613505"/>
                </a:lnTo>
                <a:cubicBezTo>
                  <a:pt x="5961698" y="615125"/>
                  <a:pt x="5972270" y="615696"/>
                  <a:pt x="5982843" y="616744"/>
                </a:cubicBezTo>
                <a:lnTo>
                  <a:pt x="6014466" y="619697"/>
                </a:lnTo>
                <a:lnTo>
                  <a:pt x="6030278" y="621125"/>
                </a:lnTo>
                <a:lnTo>
                  <a:pt x="6046089" y="621411"/>
                </a:lnTo>
                <a:lnTo>
                  <a:pt x="6109526" y="622459"/>
                </a:lnTo>
                <a:cubicBezTo>
                  <a:pt x="6151817" y="619792"/>
                  <a:pt x="6194298" y="618935"/>
                  <a:pt x="6236113" y="612362"/>
                </a:cubicBezTo>
                <a:lnTo>
                  <a:pt x="6267545" y="608362"/>
                </a:lnTo>
                <a:cubicBezTo>
                  <a:pt x="6272784" y="607695"/>
                  <a:pt x="6278023" y="607124"/>
                  <a:pt x="6283262" y="606266"/>
                </a:cubicBezTo>
                <a:lnTo>
                  <a:pt x="6298788" y="603218"/>
                </a:lnTo>
                <a:lnTo>
                  <a:pt x="6360986" y="591026"/>
                </a:lnTo>
                <a:cubicBezTo>
                  <a:pt x="6366129" y="589979"/>
                  <a:pt x="6371368" y="589026"/>
                  <a:pt x="6376511" y="587883"/>
                </a:cubicBezTo>
                <a:lnTo>
                  <a:pt x="6391847" y="583883"/>
                </a:lnTo>
                <a:lnTo>
                  <a:pt x="6422422" y="575882"/>
                </a:lnTo>
                <a:lnTo>
                  <a:pt x="6452997" y="567785"/>
                </a:lnTo>
                <a:cubicBezTo>
                  <a:pt x="6463189" y="565023"/>
                  <a:pt x="6473476" y="562642"/>
                  <a:pt x="6483382" y="559118"/>
                </a:cubicBezTo>
                <a:cubicBezTo>
                  <a:pt x="6503384" y="552545"/>
                  <a:pt x="6523387" y="545973"/>
                  <a:pt x="6543390" y="539401"/>
                </a:cubicBezTo>
                <a:lnTo>
                  <a:pt x="6573393" y="529590"/>
                </a:lnTo>
                <a:cubicBezTo>
                  <a:pt x="6583299" y="526066"/>
                  <a:pt x="6593014" y="521970"/>
                  <a:pt x="6602826" y="518255"/>
                </a:cubicBezTo>
                <a:cubicBezTo>
                  <a:pt x="6641878" y="502634"/>
                  <a:pt x="6681597" y="488633"/>
                  <a:pt x="6719507" y="470440"/>
                </a:cubicBezTo>
                <a:cubicBezTo>
                  <a:pt x="6738652" y="461772"/>
                  <a:pt x="6757797" y="453104"/>
                  <a:pt x="6776943" y="444437"/>
                </a:cubicBezTo>
                <a:cubicBezTo>
                  <a:pt x="6796278" y="436150"/>
                  <a:pt x="6814757" y="426149"/>
                  <a:pt x="6833426" y="416719"/>
                </a:cubicBezTo>
                <a:cubicBezTo>
                  <a:pt x="6852095" y="407194"/>
                  <a:pt x="6870764" y="397574"/>
                  <a:pt x="6889433" y="388049"/>
                </a:cubicBezTo>
                <a:cubicBezTo>
                  <a:pt x="6898767" y="383191"/>
                  <a:pt x="6908197" y="378619"/>
                  <a:pt x="6917341" y="373571"/>
                </a:cubicBezTo>
                <a:lnTo>
                  <a:pt x="6944678" y="358045"/>
                </a:lnTo>
                <a:lnTo>
                  <a:pt x="6999256" y="326898"/>
                </a:lnTo>
                <a:cubicBezTo>
                  <a:pt x="7017354" y="316325"/>
                  <a:pt x="7035927" y="306515"/>
                  <a:pt x="7053453" y="295085"/>
                </a:cubicBezTo>
                <a:cubicBezTo>
                  <a:pt x="7053453" y="295085"/>
                  <a:pt x="7086505" y="274320"/>
                  <a:pt x="7152704" y="232886"/>
                </a:cubicBezTo>
                <a:cubicBezTo>
                  <a:pt x="7169468" y="222885"/>
                  <a:pt x="7187184" y="209836"/>
                  <a:pt x="7207472" y="196310"/>
                </a:cubicBezTo>
                <a:cubicBezTo>
                  <a:pt x="7227571" y="182594"/>
                  <a:pt x="7249763" y="167450"/>
                  <a:pt x="7273957" y="150971"/>
                </a:cubicBezTo>
                <a:cubicBezTo>
                  <a:pt x="7298437" y="134874"/>
                  <a:pt x="7323677" y="115729"/>
                  <a:pt x="7351205" y="95631"/>
                </a:cubicBezTo>
                <a:cubicBezTo>
                  <a:pt x="7378637" y="75438"/>
                  <a:pt x="7408164" y="53816"/>
                  <a:pt x="7439502" y="30671"/>
                </a:cubicBezTo>
                <a:close/>
              </a:path>
            </a:pathLst>
          </a:custGeom>
          <a:gradFill>
            <a:gsLst>
              <a:gs pos="93000">
                <a:schemeClr val="accent2">
                  <a:alpha val="0"/>
                </a:schemeClr>
              </a:gs>
              <a:gs pos="17000">
                <a:schemeClr val="accent2">
                  <a:alpha val="0"/>
                </a:schemeClr>
              </a:gs>
              <a:gs pos="72000">
                <a:schemeClr val="accent2"/>
              </a:gs>
              <a:gs pos="38000">
                <a:schemeClr val="accent2"/>
              </a:gs>
            </a:gsLst>
            <a:lin ang="0" scaled="1"/>
          </a:gradFill>
          <a:ln w="0" cap="flat">
            <a:noFill/>
            <a:prstDash val="solid"/>
            <a:miter/>
          </a:ln>
        </p:spPr>
        <p:txBody>
          <a:bodyPr rtlCol="0" anchor="ctr"/>
          <a:lstStyle/>
          <a:p>
            <a:endParaRPr lang="en-US"/>
          </a:p>
        </p:txBody>
      </p:sp>
      <p:grpSp>
        <p:nvGrpSpPr>
          <p:cNvPr id="8" name="Group 1">
            <a:extLst>
              <a:ext uri="{FF2B5EF4-FFF2-40B4-BE49-F238E27FC236}">
                <a16:creationId xmlns:a16="http://schemas.microsoft.com/office/drawing/2014/main" id="{AA102172-14DD-5ED5-33AF-356721242379}"/>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21C01B30-4538-A317-44E5-BDF28A06DCA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a:p>
          </p:txBody>
        </p:sp>
        <p:sp>
          <p:nvSpPr>
            <p:cNvPr id="10" name="Freeform: Shape 3">
              <a:extLst>
                <a:ext uri="{FF2B5EF4-FFF2-40B4-BE49-F238E27FC236}">
                  <a16:creationId xmlns:a16="http://schemas.microsoft.com/office/drawing/2014/main" id="{A9A8C1E0-9587-0DA1-86EF-2B2312071C5E}"/>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a:p>
          </p:txBody>
        </p:sp>
        <p:sp>
          <p:nvSpPr>
            <p:cNvPr id="11" name="Freeform: Shape 4">
              <a:extLst>
                <a:ext uri="{FF2B5EF4-FFF2-40B4-BE49-F238E27FC236}">
                  <a16:creationId xmlns:a16="http://schemas.microsoft.com/office/drawing/2014/main" id="{B65EA192-75EF-F13F-0CC2-C84DE74A65A7}"/>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a:p>
          </p:txBody>
        </p:sp>
        <p:sp>
          <p:nvSpPr>
            <p:cNvPr id="12" name="Freeform: Shape 14">
              <a:extLst>
                <a:ext uri="{FF2B5EF4-FFF2-40B4-BE49-F238E27FC236}">
                  <a16:creationId xmlns:a16="http://schemas.microsoft.com/office/drawing/2014/main" id="{A48BD9AC-7231-CA62-C64B-046F4398B636}"/>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a:p>
          </p:txBody>
        </p:sp>
        <p:sp>
          <p:nvSpPr>
            <p:cNvPr id="13" name="Freeform: Shape 20">
              <a:extLst>
                <a:ext uri="{FF2B5EF4-FFF2-40B4-BE49-F238E27FC236}">
                  <a16:creationId xmlns:a16="http://schemas.microsoft.com/office/drawing/2014/main" id="{E90D6E4E-CBEC-C140-FE24-C2FD729A0A29}"/>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a:p>
          </p:txBody>
        </p:sp>
      </p:gr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4047437"/>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hasCustomPrompt="1"/>
          </p:nvPr>
        </p:nvSpPr>
        <p:spPr>
          <a:xfrm>
            <a:off x="407368" y="3631169"/>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insert subtitle (sentence case) </a:t>
            </a:r>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313470"/>
            <a:ext cx="4609034" cy="1828193"/>
          </a:xfrm>
        </p:spPr>
        <p:txBody>
          <a:bodyPr wrap="square" lIns="0" tIns="0" rIns="0" bIns="0" anchor="b" anchorCtr="0">
            <a:spAutoFit/>
          </a:bodyPr>
          <a:lstStyle>
            <a:lvl1pPr algn="l">
              <a:lnSpc>
                <a:spcPct val="90000"/>
              </a:lnSpc>
              <a:tabLst>
                <a:tab pos="1258888" algn="l"/>
              </a:tabLst>
              <a:defRPr sz="4400" b="0" cap="none" baseline="0">
                <a:solidFill>
                  <a:schemeClr val="tx1"/>
                </a:solidFill>
                <a:latin typeface="+mj-lt"/>
              </a:defRPr>
            </a:lvl1pPr>
          </a:lstStyle>
          <a:p>
            <a:r>
              <a:rPr lang="fr-FR"/>
              <a:t>Click to insert cover </a:t>
            </a:r>
            <a:r>
              <a:rPr lang="fr-FR" err="1"/>
              <a:t>title</a:t>
            </a:r>
            <a:r>
              <a:rPr lang="fr-FR"/>
              <a:t> (sentence case) </a:t>
            </a:r>
            <a:endParaRPr lang="en-GB"/>
          </a:p>
        </p:txBody>
      </p:sp>
    </p:spTree>
    <p:extLst>
      <p:ext uri="{BB962C8B-B14F-4D97-AF65-F5344CB8AC3E}">
        <p14:creationId xmlns:p14="http://schemas.microsoft.com/office/powerpoint/2010/main" val="425282390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Grp="1" noRot="1" noChangeAspect="1" noMove="1" noResize="1" noEditPoints="1" noAdjustHandles="1" noChangeArrowheads="1" noChangeShapeType="1" noCrop="1"/>
          </p:cNvPicPr>
          <p:nvPr userDrawn="1"/>
        </p:nvPicPr>
        <p:blipFill>
          <a:blip r:embed="rId75" cstate="screen">
            <a:extLst>
              <a:ext uri="{28A0092B-C50C-407E-A947-70E740481C1C}">
                <a14:useLocalDpi xmlns:a14="http://schemas.microsoft.com/office/drawing/2010/main"/>
              </a:ext>
            </a:extLst>
          </a:blip>
          <a:stretch>
            <a:fillRect/>
          </a:stretch>
        </p:blipFill>
        <p:spPr>
          <a:xfrm>
            <a:off x="414971" y="388938"/>
            <a:ext cx="11369040" cy="6067248"/>
          </a:xfrm>
          <a:prstGeom prst="rect">
            <a:avLst/>
          </a:prstGeom>
        </p:spPr>
      </p:pic>
      <p:sp>
        <p:nvSpPr>
          <p:cNvPr id="4" name="Text Placeholder 1"/>
          <p:cNvSpPr>
            <a:spLocks noGrp="1"/>
          </p:cNvSpPr>
          <p:nvPr>
            <p:ph type="body" idx="1"/>
          </p:nvPr>
        </p:nvSpPr>
        <p:spPr>
          <a:xfrm>
            <a:off x="407988" y="1628800"/>
            <a:ext cx="11369040" cy="4829080"/>
          </a:xfrm>
          <a:prstGeom prst="rect">
            <a:avLst/>
          </a:prstGeom>
        </p:spPr>
        <p:txBody>
          <a:bodyPr vert="horz" lIns="0" tIns="0" rIns="0" bIns="0" rtlCol="0">
            <a:noAutofit/>
          </a:bodyPr>
          <a:lstStyle/>
          <a:p>
            <a:pPr lvl="0"/>
            <a:r>
              <a:rPr lang="en-US" noProof="0"/>
              <a:t>Enter your contents</a:t>
            </a:r>
          </a:p>
          <a:p>
            <a:pPr lvl="1"/>
            <a:r>
              <a:rPr lang="en-US" noProof="0"/>
              <a:t>Second level</a:t>
            </a:r>
          </a:p>
          <a:p>
            <a:pPr lvl="2"/>
            <a:r>
              <a:rPr lang="en-US" noProof="0"/>
              <a:t>Third level</a:t>
            </a:r>
          </a:p>
          <a:p>
            <a:pPr lvl="3"/>
            <a:r>
              <a:rPr lang="en-US" noProof="0"/>
              <a:t>Fourth level</a:t>
            </a:r>
          </a:p>
          <a:p>
            <a:pPr lvl="4"/>
            <a:r>
              <a:rPr lang="en-US" noProof="0"/>
              <a:t>Fifth level</a:t>
            </a:r>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7118"/>
            <a:chOff x="11501102" y="171573"/>
            <a:chExt cx="419436" cy="38711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250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414971" y="320993"/>
            <a:ext cx="11008413" cy="731520"/>
          </a:xfrm>
          <a:prstGeom prst="rect">
            <a:avLst/>
          </a:prstGeom>
        </p:spPr>
        <p:txBody>
          <a:bodyPr vert="horz" lIns="0" tIns="0" rIns="0" bIns="0" rtlCol="0" anchor="ctr" anchorCtr="0">
            <a:noAutofit/>
          </a:bodyPr>
          <a:lstStyle/>
          <a:p>
            <a:r>
              <a:rPr lang="en-US" noProof="0"/>
              <a:t>Insert page title (sentence case) </a:t>
            </a:r>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0979205" y="1068490"/>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Capgemini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398738"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a:t>	Source:	Source Text</a:t>
            </a:r>
          </a:p>
        </p:txBody>
      </p:sp>
      <p:sp>
        <p:nvSpPr>
          <p:cNvPr id="6" name="Rectangle 27">
            <a:extLst>
              <a:ext uri="{FF2B5EF4-FFF2-40B4-BE49-F238E27FC236}">
                <a16:creationId xmlns:a16="http://schemas.microsoft.com/office/drawing/2014/main" id="{C7A3A5DA-5BBD-64D1-6DE2-E0F6859C58F2}"/>
              </a:ext>
            </a:extLst>
          </p:cNvPr>
          <p:cNvSpPr/>
          <p:nvPr userDrawn="1"/>
        </p:nvSpPr>
        <p:spPr>
          <a:xfrm>
            <a:off x="6605516" y="6517871"/>
            <a:ext cx="5058466" cy="215231"/>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A6A6A6"/>
                </a:solidFill>
                <a:latin typeface="Ubuntu" panose="020B0504030602030204" pitchFamily="34" charset="0"/>
                <a:cs typeface="Arial" panose="020B0604020202020204" pitchFamily="34" charset="0"/>
              </a:rPr>
              <a:t>The information contained in this document is proprietary. Copyright © 2024 Capgemini. All rights reserved. </a:t>
            </a:r>
            <a:r>
              <a:rPr lang="en-GB" sz="700">
                <a:solidFill>
                  <a:srgbClr val="A6A6A6"/>
                </a:solidFill>
                <a:latin typeface="Ubuntu" panose="020B0504030602030204" pitchFamily="34" charset="0"/>
                <a:cs typeface="Arial" panose="020B0604020202020204" pitchFamily="34" charset="0"/>
              </a:rPr>
              <a:t>|</a:t>
            </a:r>
          </a:p>
        </p:txBody>
      </p:sp>
      <p:sp>
        <p:nvSpPr>
          <p:cNvPr id="7" name="Rectangle 43">
            <a:extLst>
              <a:ext uri="{FF2B5EF4-FFF2-40B4-BE49-F238E27FC236}">
                <a16:creationId xmlns:a16="http://schemas.microsoft.com/office/drawing/2014/main" id="{5A64C6D2-B9B0-18AF-749A-15AAED7E4993}"/>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6374537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400" b="0" i="0" u="none" strike="noStrike" kern="1200" cap="none" spc="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663">
          <p15:clr>
            <a:srgbClr val="F26B43"/>
          </p15:clr>
        </p15:guide>
        <p15:guide id="19" orient="horz" pos="4320">
          <p15:clr>
            <a:srgbClr val="F26B43"/>
          </p15:clr>
        </p15:guide>
        <p15:guide id="20" pos="257">
          <p15:clr>
            <a:srgbClr val="F26B43"/>
          </p15:clr>
        </p15:guide>
        <p15:guide id="21" pos="3840">
          <p15:clr>
            <a:srgbClr val="F26B43"/>
          </p15:clr>
        </p15:guide>
        <p15:guide id="22" pos="7423">
          <p15:clr>
            <a:srgbClr val="F26B43"/>
          </p15:clr>
        </p15:guide>
        <p15:guide id="23" orient="horz" pos="255">
          <p15:clr>
            <a:srgbClr val="F26B43"/>
          </p15:clr>
        </p15:guide>
        <p15:guide id="24" orient="horz" pos="1026">
          <p15:clr>
            <a:srgbClr val="F26B43"/>
          </p15:clr>
        </p15:guide>
        <p15:guide id="26" orient="horz" pos="4065">
          <p15:clr>
            <a:srgbClr val="F26B43"/>
          </p15:clr>
        </p15:guide>
        <p15:guide id="27"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2.xml"/><Relationship Id="rId1" Type="http://schemas.openxmlformats.org/officeDocument/2006/relationships/tags" Target="../tags/tag11.xml"/><Relationship Id="rId6" Type="http://schemas.openxmlformats.org/officeDocument/2006/relationships/image" Target="../media/image19.jpeg"/><Relationship Id="rId5" Type="http://schemas.openxmlformats.org/officeDocument/2006/relationships/image" Target="../media/image8.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3" name="Title 82">
            <a:extLst>
              <a:ext uri="{FF2B5EF4-FFF2-40B4-BE49-F238E27FC236}">
                <a16:creationId xmlns:a16="http://schemas.microsoft.com/office/drawing/2014/main" id="{E14B755A-9EF9-4F8F-B6D4-312153856103}"/>
              </a:ext>
            </a:extLst>
          </p:cNvPr>
          <p:cNvSpPr>
            <a:spLocks noGrp="1"/>
          </p:cNvSpPr>
          <p:nvPr>
            <p:ph type="title"/>
          </p:nvPr>
        </p:nvSpPr>
        <p:spPr>
          <a:xfrm>
            <a:off x="2240496" y="388189"/>
            <a:ext cx="8261327" cy="452540"/>
          </a:xfrm>
        </p:spPr>
        <p:txBody>
          <a:bodyPr/>
          <a:lstStyle/>
          <a:p>
            <a:r>
              <a:rPr lang="en-US" dirty="0"/>
              <a:t>Paul J Henderson</a:t>
            </a:r>
          </a:p>
        </p:txBody>
      </p:sp>
      <p:sp>
        <p:nvSpPr>
          <p:cNvPr id="84" name="Text Placeholder 83">
            <a:extLst>
              <a:ext uri="{FF2B5EF4-FFF2-40B4-BE49-F238E27FC236}">
                <a16:creationId xmlns:a16="http://schemas.microsoft.com/office/drawing/2014/main" id="{A8E86AA1-D5F7-4AE0-829E-C481358C7E85}"/>
              </a:ext>
            </a:extLst>
          </p:cNvPr>
          <p:cNvSpPr>
            <a:spLocks noGrp="1"/>
          </p:cNvSpPr>
          <p:nvPr>
            <p:ph type="body" sz="quarter" idx="11"/>
          </p:nvPr>
        </p:nvSpPr>
        <p:spPr>
          <a:xfrm>
            <a:off x="2240497" y="856113"/>
            <a:ext cx="6962874" cy="347076"/>
          </a:xfrm>
        </p:spPr>
        <p:txBody>
          <a:bodyPr/>
          <a:lstStyle/>
          <a:p>
            <a:r>
              <a:rPr lang="en-US"/>
              <a:t>Governance Owner</a:t>
            </a:r>
          </a:p>
        </p:txBody>
      </p:sp>
      <p:sp>
        <p:nvSpPr>
          <p:cNvPr id="25" name="Text Placeholder 4">
            <a:extLst>
              <a:ext uri="{FF2B5EF4-FFF2-40B4-BE49-F238E27FC236}">
                <a16:creationId xmlns:a16="http://schemas.microsoft.com/office/drawing/2014/main" id="{64E77EEB-A104-42EC-A63D-375038D85D9E}"/>
              </a:ext>
            </a:extLst>
          </p:cNvPr>
          <p:cNvSpPr txBox="1">
            <a:spLocks/>
          </p:cNvSpPr>
          <p:nvPr/>
        </p:nvSpPr>
        <p:spPr>
          <a:xfrm>
            <a:off x="125981" y="2464437"/>
            <a:ext cx="2329166" cy="457162"/>
          </a:xfrm>
          <a:prstGeom prst="rect">
            <a:avLst/>
          </a:prstGeom>
          <a:noFill/>
        </p:spPr>
        <p:txBody>
          <a:bodyPr lIns="91440" tIns="45720" rIns="91440" bIns="45720" anchor="t">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2000" b="1" i="0" u="none" strike="noStrike" kern="1200" cap="none" spc="0" normalizeH="0" baseline="0" noProof="0">
                <a:ln>
                  <a:noFill/>
                </a:ln>
                <a:solidFill>
                  <a:schemeClr val="accent1"/>
                </a:solidFill>
                <a:effectLst/>
                <a:uLnTx/>
                <a:uFillTx/>
                <a:latin typeface="Verdana" panose="020B0604030504040204" pitchFamily="34" charset="0"/>
                <a:ea typeface="Verdana" panose="020B0604030504040204" pitchFamily="34" charset="0"/>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Verdana" panose="020B0604030504040204" pitchFamily="34" charset="0"/>
                <a:ea typeface="Verdana" panose="020B0604030504040204" pitchFamily="34" charset="0"/>
                <a:cs typeface="+mn-cs"/>
              </a:defRPr>
            </a:lvl2pPr>
            <a:lvl3pPr marL="361950" indent="-18415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baseline="0">
                <a:solidFill>
                  <a:schemeClr val="tx1"/>
                </a:solidFill>
                <a:latin typeface="Verdana" panose="020B0604030504040204" pitchFamily="34" charset="0"/>
                <a:ea typeface="Verdana" panose="020B0604030504040204" pitchFamily="34" charset="0"/>
                <a:cs typeface="+mn-cs"/>
              </a:defRPr>
            </a:lvl3pPr>
            <a:lvl4pPr marL="539750" indent="-177800" algn="l" defTabSz="914400" rtl="0" eaLnBrk="1" latinLnBrk="0" hangingPunct="1">
              <a:lnSpc>
                <a:spcPct val="100000"/>
              </a:lnSpc>
              <a:spcBef>
                <a:spcPts val="0"/>
              </a:spcBef>
              <a:spcAft>
                <a:spcPts val="600"/>
              </a:spcAft>
              <a:buClr>
                <a:schemeClr val="accent1"/>
              </a:buClr>
              <a:buFont typeface="Ubuntu" panose="020B0504030602030204" pitchFamily="34" charset="0"/>
              <a:buChar char="–"/>
              <a:defRPr sz="1100" kern="1200" baseline="0">
                <a:solidFill>
                  <a:schemeClr val="tx1"/>
                </a:solidFill>
                <a:latin typeface="Verdana" panose="020B0604030504040204" pitchFamily="34" charset="0"/>
                <a:ea typeface="Verdana" panose="020B0604030504040204" pitchFamily="34" charset="0"/>
                <a:cs typeface="+mn-cs"/>
              </a:defRPr>
            </a:lvl4pPr>
            <a:lvl5pPr marL="717550" indent="-1778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100" kern="1200" baseline="0">
                <a:solidFill>
                  <a:schemeClr val="tx1"/>
                </a:solidFill>
                <a:latin typeface="Verdana" panose="020B0604030504040204" pitchFamily="34" charset="0"/>
                <a:ea typeface="Verdana" panose="020B060403050404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70AD"/>
                </a:solidFill>
                <a:effectLst/>
                <a:uLnTx/>
                <a:uFillTx/>
                <a:latin typeface="Ubuntu" panose="020B0504030602030204" pitchFamily="34" charset="0"/>
                <a:ea typeface="Verdana" panose="020B0604030504040204" pitchFamily="34" charset="0"/>
                <a:cs typeface="+mn-cs"/>
              </a:rPr>
              <a:t>KEY COMPETENCIES</a:t>
            </a:r>
          </a:p>
        </p:txBody>
      </p:sp>
      <p:sp>
        <p:nvSpPr>
          <p:cNvPr id="3" name="TextBox 2">
            <a:extLst>
              <a:ext uri="{FF2B5EF4-FFF2-40B4-BE49-F238E27FC236}">
                <a16:creationId xmlns:a16="http://schemas.microsoft.com/office/drawing/2014/main" id="{FC9F106C-D271-2F9C-AD85-C6474AD17E00}"/>
              </a:ext>
            </a:extLst>
          </p:cNvPr>
          <p:cNvSpPr txBox="1"/>
          <p:nvPr/>
        </p:nvSpPr>
        <p:spPr>
          <a:xfrm>
            <a:off x="93615" y="2750666"/>
            <a:ext cx="2069432" cy="365484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82880" marR="0" lvl="0" indent="-18288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a:ea typeface="Tahoma" pitchFamily="34" charset="0"/>
                <a:cs typeface="Tahoma" pitchFamily="34" charset="0"/>
              </a:rPr>
              <a:t>Business Operations &amp; Strategy</a:t>
            </a:r>
          </a:p>
          <a:p>
            <a:pPr marL="182880" marR="0" lvl="0" indent="-18288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a:ea typeface="Tahoma" pitchFamily="34" charset="0"/>
                <a:cs typeface="Tahoma" pitchFamily="34" charset="0"/>
              </a:rPr>
              <a:t>Critical Situation Management</a:t>
            </a:r>
          </a:p>
          <a:p>
            <a:pPr marL="182880" marR="0" lvl="0" indent="-18288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a:ea typeface="Tahoma" pitchFamily="34" charset="0"/>
                <a:cs typeface="Tahoma" pitchFamily="34" charset="0"/>
              </a:rPr>
              <a:t>Global Delivery Centers</a:t>
            </a:r>
          </a:p>
          <a:p>
            <a:pPr marL="182880" marR="0" lvl="0" indent="-18288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a:ea typeface="Tahoma" pitchFamily="34" charset="0"/>
                <a:cs typeface="Tahoma" pitchFamily="34" charset="0"/>
              </a:rPr>
              <a:t>Service Management &amp; Processes</a:t>
            </a:r>
          </a:p>
          <a:p>
            <a:pPr marL="182880" marR="0" lvl="0" indent="-18288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a:ea typeface="Tahoma" pitchFamily="34" charset="0"/>
                <a:cs typeface="Tahoma" pitchFamily="34" charset="0"/>
              </a:rPr>
              <a:t>Networking &amp; Systems Services</a:t>
            </a:r>
          </a:p>
          <a:p>
            <a:pPr marL="182880" marR="0" lvl="0" indent="-18288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a:ea typeface="Tahoma" pitchFamily="34" charset="0"/>
                <a:cs typeface="Tahoma" pitchFamily="34" charset="0"/>
              </a:rPr>
              <a:t>Mobility Services &amp; Service Desk</a:t>
            </a:r>
          </a:p>
          <a:p>
            <a:pPr marL="182880" marR="0" lvl="0" indent="-182880" algn="l" defTabSz="914400" rtl="0" eaLnBrk="1" fontAlgn="auto" latinLnBrk="0" hangingPunct="1">
              <a:lnSpc>
                <a:spcPct val="100000"/>
              </a:lnSpc>
              <a:spcBef>
                <a:spcPts val="0"/>
              </a:spcBef>
              <a:spcAft>
                <a:spcPts val="3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a:ea typeface="Tahoma" pitchFamily="34" charset="0"/>
                <a:cs typeface="Tahoma" pitchFamily="34" charset="0"/>
              </a:rPr>
              <a:t>Automation Asset Deployment</a:t>
            </a:r>
          </a:p>
          <a:p>
            <a:pPr marL="182880" marR="0" lvl="0" indent="-182880" algn="l" defTabSz="914400" rtl="0" eaLnBrk="1" fontAlgn="auto" latinLnBrk="0" hangingPunct="1">
              <a:lnSpc>
                <a:spcPct val="100000"/>
              </a:lnSpc>
              <a:spcBef>
                <a:spcPts val="0"/>
              </a:spcBef>
              <a:spcAft>
                <a:spcPts val="300"/>
              </a:spcAft>
              <a:buClr>
                <a:srgbClr val="0070AD"/>
              </a:buClr>
              <a:buSzPts val="1200"/>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a:ea typeface="Tahoma" pitchFamily="34" charset="0"/>
                <a:cs typeface="Tahoma" pitchFamily="34" charset="0"/>
              </a:rPr>
              <a:t>Account Governance Model </a:t>
            </a:r>
            <a:endParaRPr kumimoji="0" lang="en-NL" sz="1100" b="0" i="0" u="none" strike="noStrike" kern="1200" cap="none" spc="0" normalizeH="0" baseline="0" noProof="0">
              <a:ln>
                <a:noFill/>
              </a:ln>
              <a:solidFill>
                <a:prstClr val="black"/>
              </a:solidFill>
              <a:effectLst/>
              <a:uLnTx/>
              <a:uFillTx/>
              <a:latin typeface="Ubuntu"/>
              <a:ea typeface="Tahoma" pitchFamily="34" charset="0"/>
              <a:cs typeface="Tahoma" pitchFamily="34" charset="0"/>
            </a:endParaRPr>
          </a:p>
          <a:p>
            <a:pPr marL="182880" marR="0" lvl="0" indent="-182880" algn="l" defTabSz="914400" rtl="0" eaLnBrk="1" fontAlgn="auto" latinLnBrk="0" hangingPunct="1">
              <a:lnSpc>
                <a:spcPct val="100000"/>
              </a:lnSpc>
              <a:spcBef>
                <a:spcPts val="0"/>
              </a:spcBef>
              <a:spcAft>
                <a:spcPts val="300"/>
              </a:spcAft>
              <a:buClr>
                <a:srgbClr val="0070AD"/>
              </a:buClr>
              <a:buSzPts val="1200"/>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a:ea typeface="Tahoma" pitchFamily="34" charset="0"/>
                <a:cs typeface="Tahoma" pitchFamily="34" charset="0"/>
              </a:rPr>
              <a:t>Portfolio Service Quality Management</a:t>
            </a:r>
            <a:endParaRPr kumimoji="0" lang="en-NL" sz="1100" b="0" i="0" u="none" strike="noStrike" kern="1200" cap="none" spc="0" normalizeH="0" baseline="0" noProof="0">
              <a:ln>
                <a:noFill/>
              </a:ln>
              <a:solidFill>
                <a:prstClr val="black"/>
              </a:solidFill>
              <a:effectLst/>
              <a:uLnTx/>
              <a:uFillTx/>
              <a:latin typeface="Ubuntu"/>
              <a:ea typeface="Tahoma" pitchFamily="34" charset="0"/>
              <a:cs typeface="Tahoma" pitchFamily="34" charset="0"/>
            </a:endParaRPr>
          </a:p>
          <a:p>
            <a:pPr marL="182880" marR="0" lvl="0" indent="-182880" algn="l" defTabSz="914400" rtl="0" eaLnBrk="1" fontAlgn="auto" latinLnBrk="0" hangingPunct="1">
              <a:lnSpc>
                <a:spcPct val="100000"/>
              </a:lnSpc>
              <a:spcBef>
                <a:spcPts val="0"/>
              </a:spcBef>
              <a:spcAft>
                <a:spcPts val="300"/>
              </a:spcAft>
              <a:buClr>
                <a:srgbClr val="0070AD"/>
              </a:buClr>
              <a:buSzPts val="1200"/>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a:ea typeface="Tahoma" pitchFamily="34" charset="0"/>
                <a:cs typeface="Tahoma" pitchFamily="34" charset="0"/>
              </a:rPr>
              <a:t>Services Transition &amp; Transformation</a:t>
            </a:r>
            <a:endParaRPr kumimoji="0" lang="en-NL" sz="1100" b="0" i="0" u="none" strike="noStrike" kern="1200" cap="none" spc="0" normalizeH="0" baseline="0" noProof="0">
              <a:ln>
                <a:noFill/>
              </a:ln>
              <a:solidFill>
                <a:prstClr val="black"/>
              </a:solidFill>
              <a:effectLst/>
              <a:uLnTx/>
              <a:uFillTx/>
              <a:latin typeface="Ubuntu"/>
              <a:ea typeface="Tahoma" pitchFamily="34" charset="0"/>
              <a:cs typeface="Tahoma" pitchFamily="34" charset="0"/>
            </a:endParaRPr>
          </a:p>
        </p:txBody>
      </p:sp>
      <p:sp>
        <p:nvSpPr>
          <p:cNvPr id="8" name="Text Placeholder 7">
            <a:extLst>
              <a:ext uri="{FF2B5EF4-FFF2-40B4-BE49-F238E27FC236}">
                <a16:creationId xmlns:a16="http://schemas.microsoft.com/office/drawing/2014/main" id="{8D8EDF25-A9FB-8392-3B64-3D82AA2BFBE3}"/>
              </a:ext>
            </a:extLst>
          </p:cNvPr>
          <p:cNvSpPr txBox="1">
            <a:spLocks/>
          </p:cNvSpPr>
          <p:nvPr/>
        </p:nvSpPr>
        <p:spPr>
          <a:xfrm>
            <a:off x="2341932" y="1927890"/>
            <a:ext cx="3984193" cy="3093154"/>
          </a:xfrm>
          <a:prstGeom prst="rect">
            <a:avLst/>
          </a:prstGeom>
        </p:spPr>
        <p:txBody>
          <a:bodyPr wrap="square">
            <a:spAutoFit/>
          </a:bodyPr>
          <a:lstStyle>
            <a:lvl1pPr marL="171450" indent="-17145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100" kern="1200" baseline="0">
                <a:solidFill>
                  <a:schemeClr val="tx1"/>
                </a:solidFill>
                <a:latin typeface="Verdana" panose="020B0604030504040204" pitchFamily="34" charset="0"/>
                <a:ea typeface="Verdana" panose="020B0604030504040204" pitchFamily="34" charset="0"/>
                <a:cs typeface="+mn-cs"/>
              </a:defRPr>
            </a:lvl1pPr>
            <a:lvl2pPr marL="177800" indent="-177800" algn="l" defTabSz="914400" rtl="0" eaLnBrk="1" latinLnBrk="0" hangingPunct="1">
              <a:lnSpc>
                <a:spcPct val="100000"/>
              </a:lnSpc>
              <a:spcBef>
                <a:spcPts val="0"/>
              </a:spcBef>
              <a:spcAft>
                <a:spcPts val="300"/>
              </a:spcAft>
              <a:buClr>
                <a:schemeClr val="accent1"/>
              </a:buClr>
              <a:buFont typeface="Wingdings" panose="05000000000000000000" pitchFamily="2" charset="2"/>
              <a:buChar char="§"/>
              <a:defRPr sz="1100" kern="1200" baseline="0">
                <a:solidFill>
                  <a:schemeClr val="tx1"/>
                </a:solidFill>
                <a:latin typeface="Verdana" panose="020B0604030504040204" pitchFamily="34" charset="0"/>
                <a:ea typeface="Verdana" panose="020B0604030504040204" pitchFamily="34" charset="0"/>
                <a:cs typeface="+mn-cs"/>
              </a:defRPr>
            </a:lvl2pPr>
            <a:lvl3pPr marL="361950" indent="-184150" algn="l" defTabSz="914400" rtl="0" eaLnBrk="1" latinLnBrk="0" hangingPunct="1">
              <a:lnSpc>
                <a:spcPct val="100000"/>
              </a:lnSpc>
              <a:spcBef>
                <a:spcPts val="0"/>
              </a:spcBef>
              <a:spcAft>
                <a:spcPts val="300"/>
              </a:spcAft>
              <a:buClr>
                <a:schemeClr val="accent1"/>
              </a:buClr>
              <a:buFont typeface="Verdana" panose="020B0604030504040204" pitchFamily="34" charset="0"/>
              <a:buChar char="–"/>
              <a:defRPr sz="1100" kern="1200" baseline="0">
                <a:solidFill>
                  <a:schemeClr val="tx1"/>
                </a:solidFill>
                <a:latin typeface="Verdana" panose="020B0604030504040204" pitchFamily="34" charset="0"/>
                <a:ea typeface="Verdana" panose="020B0604030504040204" pitchFamily="34" charset="0"/>
                <a:cs typeface="+mn-cs"/>
              </a:defRPr>
            </a:lvl3pPr>
            <a:lvl4pPr marL="539750" indent="-177800" algn="l" defTabSz="914400" rtl="0" eaLnBrk="1" latinLnBrk="0" hangingPunct="1">
              <a:lnSpc>
                <a:spcPct val="100000"/>
              </a:lnSpc>
              <a:spcBef>
                <a:spcPts val="0"/>
              </a:spcBef>
              <a:spcAft>
                <a:spcPts val="300"/>
              </a:spcAft>
              <a:buClr>
                <a:schemeClr val="accent1"/>
              </a:buClr>
              <a:buFont typeface="Arial" panose="020B0604020202020204" pitchFamily="34" charset="0"/>
              <a:buChar char="•"/>
              <a:defRPr sz="1100" kern="1200" baseline="0">
                <a:solidFill>
                  <a:schemeClr val="tx1"/>
                </a:solidFill>
                <a:latin typeface="Verdana" panose="020B0604030504040204" pitchFamily="34" charset="0"/>
                <a:ea typeface="Verdana" panose="020B0604030504040204" pitchFamily="34" charset="0"/>
                <a:cs typeface="+mn-cs"/>
              </a:defRPr>
            </a:lvl4pPr>
            <a:lvl5pPr marL="717550" indent="-1778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baseline="0">
                <a:solidFill>
                  <a:schemeClr val="tx1"/>
                </a:solidFill>
                <a:latin typeface="Verdana" panose="020B0604030504040204" pitchFamily="34" charset="0"/>
                <a:ea typeface="Verdana" panose="020B060403050404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03"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kumimoji="0" lang="en-US"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With over 25 year of experience in Service Operations Management and Management Systems; Cost Management &amp; Portfolio Management of Profit &amp; Loss; Service Quality Management; Audit Process and Risk &amp; Compliance; Transformation Programs; Employee Engagement; Leading outcomes in large complex International </a:t>
            </a:r>
            <a:r>
              <a:rPr kumimoji="0" lang="en-US" sz="1000" b="0" i="0" u="none" strike="noStrike" kern="120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mn-cs"/>
              </a:rPr>
              <a:t>Organisations</a:t>
            </a:r>
            <a:r>
              <a:rPr kumimoji="0" lang="en-US"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 Expatriate cultural adaptability.</a:t>
            </a:r>
          </a:p>
          <a:p>
            <a:pPr marL="0" marR="0" lvl="0" indent="0" algn="l" defTabSz="914103"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kumimoji="0" lang="en-US"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Track record of high performance and a deep and broad set of role experiences and accountability.</a:t>
            </a:r>
          </a:p>
          <a:p>
            <a:pPr marL="0" marR="0" lvl="0" indent="0" algn="l" defTabSz="914103"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kumimoji="0" lang="en-US"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Leading Global Transformation initiative for Cloud Transformation programs in Capgemini. This includes Global Telecommunications and Pharma / Agri-science Client with Data Centre services Transition &amp; Transformation to strategic DC solutions across Asia, Europe, Americas &amp; LATAM, plus additional Global client scope headquartered in UK, Nordics and Germany. </a:t>
            </a:r>
          </a:p>
          <a:p>
            <a:pPr marL="0" marR="0" lvl="0" indent="0" algn="l" defTabSz="914103"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endParaRPr kumimoji="0" lang="en-US" sz="1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10" name="Text Placeholder 4">
            <a:extLst>
              <a:ext uri="{FF2B5EF4-FFF2-40B4-BE49-F238E27FC236}">
                <a16:creationId xmlns:a16="http://schemas.microsoft.com/office/drawing/2014/main" id="{7DE70CD8-2D36-45C6-BC1E-F61D8AB2DDAB}"/>
              </a:ext>
            </a:extLst>
          </p:cNvPr>
          <p:cNvSpPr txBox="1">
            <a:spLocks/>
          </p:cNvSpPr>
          <p:nvPr/>
        </p:nvSpPr>
        <p:spPr>
          <a:xfrm>
            <a:off x="2461676" y="1454682"/>
            <a:ext cx="1437788" cy="331986"/>
          </a:xfrm>
          <a:prstGeom prst="rect">
            <a:avLst/>
          </a:prstGeom>
          <a:noFill/>
        </p:spPr>
        <p:txBody>
          <a:bodyPr anchor="b">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2000" b="1" i="0" u="none" strike="noStrike" kern="1200" cap="none" spc="0" normalizeH="0" baseline="0" noProof="0">
                <a:ln>
                  <a:noFill/>
                </a:ln>
                <a:solidFill>
                  <a:schemeClr val="accent1"/>
                </a:solidFill>
                <a:effectLst/>
                <a:uLnTx/>
                <a:uFillTx/>
                <a:latin typeface="Verdana" panose="020B0604030504040204" pitchFamily="34" charset="0"/>
                <a:ea typeface="Verdana" panose="020B0604030504040204" pitchFamily="34" charset="0"/>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Verdana" panose="020B0604030504040204" pitchFamily="34" charset="0"/>
                <a:ea typeface="Verdana" panose="020B0604030504040204" pitchFamily="34" charset="0"/>
                <a:cs typeface="+mn-cs"/>
              </a:defRPr>
            </a:lvl2pPr>
            <a:lvl3pPr marL="361950" indent="-18415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baseline="0">
                <a:solidFill>
                  <a:schemeClr val="tx1"/>
                </a:solidFill>
                <a:latin typeface="Verdana" panose="020B0604030504040204" pitchFamily="34" charset="0"/>
                <a:ea typeface="Verdana" panose="020B0604030504040204" pitchFamily="34" charset="0"/>
                <a:cs typeface="+mn-cs"/>
              </a:defRPr>
            </a:lvl3pPr>
            <a:lvl4pPr marL="539750" indent="-177800" algn="l" defTabSz="914400" rtl="0" eaLnBrk="1" latinLnBrk="0" hangingPunct="1">
              <a:lnSpc>
                <a:spcPct val="100000"/>
              </a:lnSpc>
              <a:spcBef>
                <a:spcPts val="0"/>
              </a:spcBef>
              <a:spcAft>
                <a:spcPts val="600"/>
              </a:spcAft>
              <a:buClr>
                <a:schemeClr val="accent1"/>
              </a:buClr>
              <a:buFont typeface="Ubuntu" panose="020B0504030602030204" pitchFamily="34" charset="0"/>
              <a:buChar char="–"/>
              <a:defRPr sz="1100" kern="1200" baseline="0">
                <a:solidFill>
                  <a:schemeClr val="tx1"/>
                </a:solidFill>
                <a:latin typeface="Verdana" panose="020B0604030504040204" pitchFamily="34" charset="0"/>
                <a:ea typeface="Verdana" panose="020B0604030504040204" pitchFamily="34" charset="0"/>
                <a:cs typeface="+mn-cs"/>
              </a:defRPr>
            </a:lvl4pPr>
            <a:lvl5pPr marL="717550" indent="-1778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100" kern="1200" baseline="0">
                <a:solidFill>
                  <a:schemeClr val="tx1"/>
                </a:solidFill>
                <a:latin typeface="Verdana" panose="020B0604030504040204" pitchFamily="34" charset="0"/>
                <a:ea typeface="Verdana" panose="020B060403050404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70AD"/>
                </a:solidFill>
                <a:effectLst/>
                <a:uLnTx/>
                <a:uFillTx/>
                <a:latin typeface="Ubuntu" panose="020B0504030602030204" pitchFamily="34" charset="0"/>
                <a:ea typeface="Verdana" panose="020B0604030504040204" pitchFamily="34" charset="0"/>
                <a:cs typeface="+mn-cs"/>
              </a:rPr>
              <a:t>PROFILE</a:t>
            </a:r>
          </a:p>
        </p:txBody>
      </p:sp>
      <p:sp>
        <p:nvSpPr>
          <p:cNvPr id="2" name="TextBox 1">
            <a:extLst>
              <a:ext uri="{FF2B5EF4-FFF2-40B4-BE49-F238E27FC236}">
                <a16:creationId xmlns:a16="http://schemas.microsoft.com/office/drawing/2014/main" id="{77CC18D9-AB3B-F071-401E-A196F7E179FB}"/>
              </a:ext>
            </a:extLst>
          </p:cNvPr>
          <p:cNvSpPr txBox="1"/>
          <p:nvPr/>
        </p:nvSpPr>
        <p:spPr>
          <a:xfrm>
            <a:off x="6429880" y="1664271"/>
            <a:ext cx="5546982" cy="17697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82880" marR="0" lvl="0" indent="-182880" algn="l" defTabSz="872667"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a:ea typeface="Tahoma" pitchFamily="34" charset="0"/>
                <a:cs typeface="Tahoma" pitchFamily="34" charset="0"/>
              </a:rPr>
              <a:t>Leading Global Transformation Initiative across selected high profile Accounts to proactively and reactively address structural aspects of troubled projects. Hands on client facing Global Cloud Transformation </a:t>
            </a:r>
            <a:r>
              <a:rPr kumimoji="0" lang="en-US" sz="1100" b="0" i="0" u="none" strike="noStrike" kern="1200" cap="none" spc="0" normalizeH="0" baseline="0" noProof="0" err="1">
                <a:ln>
                  <a:noFill/>
                </a:ln>
                <a:solidFill>
                  <a:prstClr val="black"/>
                </a:solidFill>
                <a:effectLst/>
                <a:uLnTx/>
                <a:uFillTx/>
                <a:latin typeface="Ubuntu"/>
                <a:ea typeface="Tahoma" pitchFamily="34" charset="0"/>
                <a:cs typeface="Tahoma" pitchFamily="34" charset="0"/>
              </a:rPr>
              <a:t>programme</a:t>
            </a:r>
            <a:r>
              <a:rPr kumimoji="0" lang="en-US" sz="1100" b="0" i="0" u="none" strike="noStrike" kern="1200" cap="none" spc="0" normalizeH="0" baseline="0" noProof="0">
                <a:ln>
                  <a:noFill/>
                </a:ln>
                <a:solidFill>
                  <a:prstClr val="black"/>
                </a:solidFill>
                <a:effectLst/>
                <a:uLnTx/>
                <a:uFillTx/>
                <a:latin typeface="Ubuntu"/>
                <a:ea typeface="Tahoma" pitchFamily="34" charset="0"/>
                <a:cs typeface="Tahoma" pitchFamily="34" charset="0"/>
              </a:rPr>
              <a:t> accountability (Public, Private &amp; Hybrid) with full deal lifecycle involvement and total Transformation budget and contract scope.</a:t>
            </a:r>
          </a:p>
          <a:p>
            <a:pPr marL="182880" marR="0" lvl="0" indent="-182880" algn="l" defTabSz="872667"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prstClr val="black"/>
                </a:solidFill>
                <a:effectLst/>
                <a:uLnTx/>
                <a:uFillTx/>
                <a:latin typeface="Ubuntu"/>
                <a:ea typeface="Tahoma" pitchFamily="34" charset="0"/>
                <a:cs typeface="Tahoma" pitchFamily="34" charset="0"/>
              </a:rPr>
              <a:t>Multiple Global Transformation Programs completed as Lead for Data Centre services Transition &amp; Transformation on strategic solutions across Asia, Europe, Americas &amp; LATAM</a:t>
            </a:r>
          </a:p>
          <a:p>
            <a:pPr marL="182880" marR="0" lvl="0" indent="-182880" algn="l" defTabSz="872667"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endParaRPr kumimoji="0" lang="en-US" sz="1100" b="0" i="0" u="none" strike="noStrike" kern="1200" cap="none" spc="0" normalizeH="0" baseline="0" noProof="0">
              <a:ln>
                <a:noFill/>
              </a:ln>
              <a:solidFill>
                <a:prstClr val="black"/>
              </a:solidFill>
              <a:effectLst/>
              <a:uLnTx/>
              <a:uFillTx/>
              <a:latin typeface="Ubuntu"/>
              <a:ea typeface="Tahoma" pitchFamily="34" charset="0"/>
              <a:cs typeface="Tahoma" pitchFamily="34" charset="0"/>
            </a:endParaRPr>
          </a:p>
        </p:txBody>
      </p:sp>
      <p:sp>
        <p:nvSpPr>
          <p:cNvPr id="4" name="Text Placeholder 4">
            <a:extLst>
              <a:ext uri="{FF2B5EF4-FFF2-40B4-BE49-F238E27FC236}">
                <a16:creationId xmlns:a16="http://schemas.microsoft.com/office/drawing/2014/main" id="{83D3B533-94DB-AF2F-943C-80833B56ED34}"/>
              </a:ext>
            </a:extLst>
          </p:cNvPr>
          <p:cNvSpPr txBox="1">
            <a:spLocks/>
          </p:cNvSpPr>
          <p:nvPr/>
        </p:nvSpPr>
        <p:spPr>
          <a:xfrm>
            <a:off x="6418638" y="1411678"/>
            <a:ext cx="5320888" cy="252593"/>
          </a:xfrm>
          <a:prstGeom prst="rect">
            <a:avLst/>
          </a:prstGeom>
          <a:noFill/>
        </p:spPr>
        <p:txBody>
          <a:bodyPr lIns="91440" tIns="45720" rIns="91440" bIns="45720" anchor="ct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2000" b="1" i="0" u="none" strike="noStrike" kern="1200" cap="none" spc="0" normalizeH="0" baseline="0" noProof="0">
                <a:ln>
                  <a:noFill/>
                </a:ln>
                <a:solidFill>
                  <a:schemeClr val="accent1"/>
                </a:solidFill>
                <a:effectLst/>
                <a:uLnTx/>
                <a:uFillTx/>
                <a:latin typeface="Verdana" panose="020B0604030504040204" pitchFamily="34" charset="0"/>
                <a:ea typeface="Verdana" panose="020B0604030504040204" pitchFamily="34" charset="0"/>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Verdana" panose="020B0604030504040204" pitchFamily="34" charset="0"/>
                <a:ea typeface="Verdana" panose="020B0604030504040204" pitchFamily="34" charset="0"/>
                <a:cs typeface="+mn-cs"/>
              </a:defRPr>
            </a:lvl2pPr>
            <a:lvl3pPr marL="361950" indent="-18415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baseline="0">
                <a:solidFill>
                  <a:schemeClr val="tx1"/>
                </a:solidFill>
                <a:latin typeface="Verdana" panose="020B0604030504040204" pitchFamily="34" charset="0"/>
                <a:ea typeface="Verdana" panose="020B0604030504040204" pitchFamily="34" charset="0"/>
                <a:cs typeface="+mn-cs"/>
              </a:defRPr>
            </a:lvl3pPr>
            <a:lvl4pPr marL="539750" indent="-177800" algn="l" defTabSz="914400" rtl="0" eaLnBrk="1" latinLnBrk="0" hangingPunct="1">
              <a:lnSpc>
                <a:spcPct val="100000"/>
              </a:lnSpc>
              <a:spcBef>
                <a:spcPts val="0"/>
              </a:spcBef>
              <a:spcAft>
                <a:spcPts val="600"/>
              </a:spcAft>
              <a:buClr>
                <a:schemeClr val="accent1"/>
              </a:buClr>
              <a:buFont typeface="Ubuntu" panose="020B0504030602030204" pitchFamily="34" charset="0"/>
              <a:buChar char="–"/>
              <a:defRPr sz="1100" kern="1200" baseline="0">
                <a:solidFill>
                  <a:schemeClr val="tx1"/>
                </a:solidFill>
                <a:latin typeface="Verdana" panose="020B0604030504040204" pitchFamily="34" charset="0"/>
                <a:ea typeface="Verdana" panose="020B0604030504040204" pitchFamily="34" charset="0"/>
                <a:cs typeface="+mn-cs"/>
              </a:defRPr>
            </a:lvl4pPr>
            <a:lvl5pPr marL="717550" indent="-1778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100" kern="1200" baseline="0">
                <a:solidFill>
                  <a:schemeClr val="tx1"/>
                </a:solidFill>
                <a:latin typeface="Verdana" panose="020B0604030504040204" pitchFamily="34" charset="0"/>
                <a:ea typeface="Verdana" panose="020B060403050404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IN" sz="1400" b="1" i="0" u="none" strike="noStrike" kern="1200" cap="none" spc="0" normalizeH="0" baseline="0" noProof="0">
                <a:ln>
                  <a:noFill/>
                </a:ln>
                <a:solidFill>
                  <a:srgbClr val="0070AD"/>
                </a:solidFill>
                <a:effectLst/>
                <a:uLnTx/>
                <a:uFillTx/>
                <a:latin typeface="Ubuntu"/>
                <a:ea typeface="Verdana"/>
                <a:cs typeface="+mn-cs"/>
              </a:rPr>
              <a:t>EXPERIENCE</a:t>
            </a:r>
          </a:p>
        </p:txBody>
      </p:sp>
      <p:pic>
        <p:nvPicPr>
          <p:cNvPr id="7" name="Picture Placeholder 6" descr="A person in a suit and tie&#10;&#10;Description automatically generated">
            <a:extLst>
              <a:ext uri="{FF2B5EF4-FFF2-40B4-BE49-F238E27FC236}">
                <a16:creationId xmlns:a16="http://schemas.microsoft.com/office/drawing/2014/main" id="{8C6BFB81-96FB-B591-228D-F8F76AE17AC4}"/>
              </a:ext>
            </a:extLst>
          </p:cNvPr>
          <p:cNvPicPr>
            <a:picLocks noGrp="1" noChangeAspect="1"/>
          </p:cNvPicPr>
          <p:nvPr>
            <p:ph type="pic" sz="quarter" idx="16"/>
          </p:nvPr>
        </p:nvPicPr>
        <p:blipFill>
          <a:blip r:embed="rId6"/>
          <a:srcRect t="6131" b="6131"/>
          <a:stretch>
            <a:fillRect/>
          </a:stretch>
        </p:blipFill>
        <p:spPr/>
      </p:pic>
      <p:sp>
        <p:nvSpPr>
          <p:cNvPr id="5" name="TextBox 4">
            <a:extLst>
              <a:ext uri="{FF2B5EF4-FFF2-40B4-BE49-F238E27FC236}">
                <a16:creationId xmlns:a16="http://schemas.microsoft.com/office/drawing/2014/main" id="{E0EEFE83-A37F-235D-71E9-99402AA529A6}"/>
              </a:ext>
            </a:extLst>
          </p:cNvPr>
          <p:cNvSpPr txBox="1"/>
          <p:nvPr/>
        </p:nvSpPr>
        <p:spPr>
          <a:xfrm rot="20392070">
            <a:off x="2326249" y="3162202"/>
            <a:ext cx="7239000" cy="309958"/>
          </a:xfrm>
          <a:prstGeom prst="rect">
            <a:avLst/>
          </a:prstGeom>
          <a:solidFill>
            <a:srgbClr val="FFDA80"/>
          </a:solidFill>
        </p:spPr>
        <p:txBody>
          <a:bodyPr vert="horz" wrap="square" lIns="90000" tIns="46800" rIns="90000" bIns="46800" rtlCol="0" anchor="ctr">
            <a:spAutoFit/>
          </a:bodyPr>
          <a:lstStyle/>
          <a:p>
            <a:pPr algn="ctr">
              <a:spcBef>
                <a:spcPct val="0"/>
              </a:spcBef>
            </a:pPr>
            <a:r>
              <a:rPr lang="en-US" sz="1400" dirty="0"/>
              <a:t>Sample Profile</a:t>
            </a:r>
          </a:p>
        </p:txBody>
      </p:sp>
      <p:sp>
        <p:nvSpPr>
          <p:cNvPr id="9" name="TextBox 8">
            <a:extLst>
              <a:ext uri="{FF2B5EF4-FFF2-40B4-BE49-F238E27FC236}">
                <a16:creationId xmlns:a16="http://schemas.microsoft.com/office/drawing/2014/main" id="{18C4090B-2DAE-B7DA-5FC1-07563FA0A269}"/>
              </a:ext>
            </a:extLst>
          </p:cNvPr>
          <p:cNvSpPr txBox="1"/>
          <p:nvPr/>
        </p:nvSpPr>
        <p:spPr>
          <a:xfrm>
            <a:off x="5967448" y="78231"/>
            <a:ext cx="1618348" cy="309958"/>
          </a:xfrm>
          <a:prstGeom prst="rect">
            <a:avLst/>
          </a:prstGeom>
          <a:solidFill>
            <a:schemeClr val="accent2"/>
          </a:solidFill>
        </p:spPr>
        <p:txBody>
          <a:bodyPr vert="horz" wrap="square" lIns="90000" tIns="46800" rIns="90000" bIns="46800" rtlCol="0" anchor="ctr">
            <a:spAutoFit/>
          </a:bodyPr>
          <a:lstStyle/>
          <a:p>
            <a:pPr algn="l">
              <a:spcBef>
                <a:spcPct val="0"/>
              </a:spcBef>
            </a:pPr>
            <a:r>
              <a:rPr lang="en-US" sz="1400" dirty="0"/>
              <a:t>Domain</a:t>
            </a:r>
          </a:p>
        </p:txBody>
      </p:sp>
    </p:spTree>
    <p:extLst>
      <p:ext uri="{BB962C8B-B14F-4D97-AF65-F5344CB8AC3E}">
        <p14:creationId xmlns:p14="http://schemas.microsoft.com/office/powerpoint/2010/main" val="16698655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apgemini_2024">
  <a:themeElements>
    <a:clrScheme name="Capgemini 2024">
      <a:dk1>
        <a:sysClr val="windowText" lastClr="000000"/>
      </a:dk1>
      <a:lt1>
        <a:srgbClr val="FFFFFF"/>
      </a:lt1>
      <a:dk2>
        <a:srgbClr val="000000"/>
      </a:dk2>
      <a:lt2>
        <a:srgbClr val="F6F6F6"/>
      </a:lt2>
      <a:accent1>
        <a:srgbClr val="0070AD"/>
      </a:accent1>
      <a:accent2>
        <a:srgbClr val="12ABDB"/>
      </a:accent2>
      <a:accent3>
        <a:srgbClr val="14596B"/>
      </a:accent3>
      <a:accent4>
        <a:srgbClr val="272936"/>
      </a:accent4>
      <a:accent5>
        <a:srgbClr val="0F878A"/>
      </a:accent5>
      <a:accent6>
        <a:srgbClr val="00BFBF"/>
      </a:accent6>
      <a:hlink>
        <a:srgbClr val="00929B"/>
      </a:hlink>
      <a:folHlink>
        <a:srgbClr val="00BFBF"/>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GlobalGroup_V3.potx" id="{B261526D-0EC9-441A-90CA-285DAAE4B035}" vid="{63F816C4-3394-4A76-B8C7-355A6B6A18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606B558CE897E4AB206AAF4FFCD25C4" ma:contentTypeVersion="11" ma:contentTypeDescription="Create a new document." ma:contentTypeScope="" ma:versionID="f872c265c9634e636f419f4cd8bdd956">
  <xsd:schema xmlns:xsd="http://www.w3.org/2001/XMLSchema" xmlns:xs="http://www.w3.org/2001/XMLSchema" xmlns:p="http://schemas.microsoft.com/office/2006/metadata/properties" xmlns:ns2="eff4d980-96f1-4c89-824d-f03bfc52d7e7" xmlns:ns3="22dc4a0d-aa4e-4fd9-8abb-99a8f9d43499" targetNamespace="http://schemas.microsoft.com/office/2006/metadata/properties" ma:root="true" ma:fieldsID="f95402164ce20ffc353a6607dfb80378" ns2:_="" ns3:_="">
    <xsd:import namespace="eff4d980-96f1-4c89-824d-f03bfc52d7e7"/>
    <xsd:import namespace="22dc4a0d-aa4e-4fd9-8abb-99a8f9d4349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ff4d980-96f1-4c89-824d-f03bfc52d7e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2dc4a0d-aa4e-4fd9-8abb-99a8f9d4349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45eb12d1-5e5c-4ad6-b57e-7a90ab81c923}" ma:internalName="TaxCatchAll" ma:showField="CatchAllData" ma:web="22dc4a0d-aa4e-4fd9-8abb-99a8f9d434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2dc4a0d-aa4e-4fd9-8abb-99a8f9d43499" xsi:nil="true"/>
    <lcf76f155ced4ddcb4097134ff3c332f xmlns="eff4d980-96f1-4c89-824d-f03bfc52d7e7">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65F7011-F92F-4672-B2BE-9B9A462E7B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ff4d980-96f1-4c89-824d-f03bfc52d7e7"/>
    <ds:schemaRef ds:uri="22dc4a0d-aa4e-4fd9-8abb-99a8f9d434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377E46E-F456-42F2-BBA4-C76795892CBA}">
  <ds:schemaRef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22dc4a0d-aa4e-4fd9-8abb-99a8f9d43499"/>
    <ds:schemaRef ds:uri="http://purl.org/dc/terms/"/>
    <ds:schemaRef ds:uri="eff4d980-96f1-4c89-824d-f03bfc52d7e7"/>
    <ds:schemaRef ds:uri="http://schemas.microsoft.com/office/2006/documentManagement/types"/>
    <ds:schemaRef ds:uri="http://www.w3.org/XML/1998/namespace"/>
    <ds:schemaRef ds:uri="http://purl.org/dc/dcmitype/"/>
  </ds:schemaRefs>
</ds:datastoreItem>
</file>

<file path=customXml/itemProps3.xml><?xml version="1.0" encoding="utf-8"?>
<ds:datastoreItem xmlns:ds="http://schemas.openxmlformats.org/officeDocument/2006/customXml" ds:itemID="{0BBCDC6F-CC29-4457-BB3D-CE3C19FAEF8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TotalTime>
  <Words>247</Words>
  <Application>Microsoft Office PowerPoint</Application>
  <PresentationFormat>Widescreen</PresentationFormat>
  <Paragraphs>23</Paragraphs>
  <Slides>1</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1" baseType="lpstr">
      <vt:lpstr>Aptos</vt:lpstr>
      <vt:lpstr>Arial</vt:lpstr>
      <vt:lpstr>Courier New</vt:lpstr>
      <vt:lpstr>Ubuntu</vt:lpstr>
      <vt:lpstr>Ubuntu Light</vt:lpstr>
      <vt:lpstr>Ubuntu Medium</vt:lpstr>
      <vt:lpstr>Verdana</vt:lpstr>
      <vt:lpstr>Wingdings</vt:lpstr>
      <vt:lpstr>1_Capgemini_2024</vt:lpstr>
      <vt:lpstr>think-cell Slide</vt:lpstr>
      <vt:lpstr>Paul J Henders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umar, Asmita</dc:creator>
  <cp:lastModifiedBy>Kalva, Venu</cp:lastModifiedBy>
  <cp:revision>3</cp:revision>
  <dcterms:created xsi:type="dcterms:W3CDTF">2025-01-21T10:46:32Z</dcterms:created>
  <dcterms:modified xsi:type="dcterms:W3CDTF">2025-01-22T05:0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06B558CE897E4AB206AAF4FFCD25C4</vt:lpwstr>
  </property>
  <property fmtid="{D5CDD505-2E9C-101B-9397-08002B2CF9AE}" pid="3" name="MediaServiceImageTags">
    <vt:lpwstr/>
  </property>
</Properties>
</file>